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814" r:id="rId2"/>
    <p:sldId id="1020" r:id="rId3"/>
    <p:sldId id="1010" r:id="rId4"/>
    <p:sldId id="1000" r:id="rId5"/>
    <p:sldId id="1021" r:id="rId6"/>
    <p:sldId id="1015" r:id="rId7"/>
    <p:sldId id="987" r:id="rId8"/>
    <p:sldId id="996" r:id="rId9"/>
    <p:sldId id="1017" r:id="rId10"/>
    <p:sldId id="991" r:id="rId11"/>
    <p:sldId id="988" r:id="rId12"/>
    <p:sldId id="1007" r:id="rId13"/>
    <p:sldId id="1023" r:id="rId14"/>
    <p:sldId id="1012" r:id="rId15"/>
    <p:sldId id="1013" r:id="rId16"/>
    <p:sldId id="1022" r:id="rId17"/>
    <p:sldId id="956" r:id="rId18"/>
  </p:sldIdLst>
  <p:sldSz cx="9144000" cy="5143500" type="screen16x9"/>
  <p:notesSz cx="6858000" cy="9144000"/>
  <p:custDataLst>
    <p:tags r:id="rId21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8" userDrawn="1">
          <p15:clr>
            <a:srgbClr val="A4A3A4"/>
          </p15:clr>
        </p15:guide>
        <p15:guide id="2" pos="29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jy1546" initials="j" lastIdx="1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FC0"/>
    <a:srgbClr val="C00000"/>
    <a:srgbClr val="D9D9D9"/>
    <a:srgbClr val="7F7F7F"/>
    <a:srgbClr val="FCFCFC"/>
    <a:srgbClr val="C00002"/>
    <a:srgbClr val="D4ECBA"/>
    <a:srgbClr val="94A3BB"/>
    <a:srgbClr val="5E779E"/>
    <a:srgbClr val="D1DD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中度样式 4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505E3EF-67EA-436B-97B2-0124C06EBD24}" styleName="中度样式 4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中度样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38" autoAdjust="0"/>
    <p:restoredTop sz="93886" autoAdjust="0"/>
  </p:normalViewPr>
  <p:slideViewPr>
    <p:cSldViewPr>
      <p:cViewPr varScale="1">
        <p:scale>
          <a:sx n="89" d="100"/>
          <a:sy n="89" d="100"/>
        </p:scale>
        <p:origin x="1098" y="90"/>
      </p:cViewPr>
      <p:guideLst>
        <p:guide orient="horz" pos="2618"/>
        <p:guide pos="2925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285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FA1FE00-465A-4357-B273-E8921AE41A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B474F0-1177-4511-A78B-769C8A1CF7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C82ED4-FBF8-44A2-91C6-D9EF19F5FE80}" type="datetimeFigureOut">
              <a:rPr lang="zh-CN" altLang="en-US" smtClean="0"/>
              <a:pPr/>
              <a:t>2020/9/16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88B3A7-7C39-49F5-AECC-58E9804E617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52A114-92BF-4374-A994-02E4893DCC6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D1136B-2D54-4266-9DDC-D0EEDE12962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772958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微软雅黑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ea typeface="微软雅黑" pitchFamily="34" charset="-122"/>
              </a:defRPr>
            </a:lvl1pPr>
          </a:lstStyle>
          <a:p>
            <a:fld id="{673B58EF-4ABD-40F4-ACA4-FE81D742E6DD}" type="datetimeFigureOut">
              <a:rPr lang="zh-CN" altLang="en-US" smtClean="0"/>
              <a:pPr/>
              <a:t>2020/9/16</a:t>
            </a:fld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微软雅黑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ea typeface="微软雅黑" pitchFamily="34" charset="-122"/>
              </a:defRPr>
            </a:lvl1pPr>
          </a:lstStyle>
          <a:p>
            <a:fld id="{A11FC198-2D83-4DFC-8CDD-7D23AF44D411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4111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BF2980-540F-4F7F-A4CC-709C5E980331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22855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  <a:pPr/>
              <a:t>1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567088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  <a:pPr/>
              <a:t>1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085873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  <a:pPr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178289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BF2980-540F-4F7F-A4CC-709C5E980331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551305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  <a:pPr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241164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  <a:pPr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430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业务</a:t>
            </a:r>
            <a:r>
              <a:rPr kumimoji="1" lang="en-US" altLang="zh-CN" dirty="0"/>
              <a:t>/</a:t>
            </a:r>
            <a:r>
              <a:rPr kumimoji="1" lang="zh-CN" altLang="en-US" dirty="0"/>
              <a:t>品牌   退款</a:t>
            </a:r>
            <a:r>
              <a:rPr kumimoji="1" lang="en-US" altLang="zh-CN" dirty="0"/>
              <a:t>/</a:t>
            </a:r>
            <a:r>
              <a:rPr kumimoji="1" lang="zh-CN" altLang="en-US" dirty="0"/>
              <a:t>支付   点餐</a:t>
            </a:r>
            <a:r>
              <a:rPr kumimoji="1" lang="en-US" altLang="zh-CN" dirty="0"/>
              <a:t>/</a:t>
            </a:r>
            <a:r>
              <a:rPr kumimoji="1" lang="zh-CN" altLang="en-US" dirty="0"/>
              <a:t>商城   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73627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203755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业务</a:t>
            </a:r>
            <a:r>
              <a:rPr kumimoji="1" lang="en-US" altLang="zh-CN" dirty="0"/>
              <a:t>/</a:t>
            </a:r>
            <a:r>
              <a:rPr kumimoji="1" lang="zh-CN" altLang="en-US" dirty="0"/>
              <a:t>品牌   退款</a:t>
            </a:r>
            <a:r>
              <a:rPr kumimoji="1" lang="en-US" altLang="zh-CN" dirty="0"/>
              <a:t>/</a:t>
            </a:r>
            <a:r>
              <a:rPr kumimoji="1" lang="zh-CN" altLang="en-US" dirty="0"/>
              <a:t>支付   点餐</a:t>
            </a:r>
            <a:r>
              <a:rPr kumimoji="1" lang="en-US" altLang="zh-CN" dirty="0"/>
              <a:t>/</a:t>
            </a:r>
            <a:r>
              <a:rPr kumimoji="1" lang="zh-CN" altLang="en-US" dirty="0"/>
              <a:t>商城   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173369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426870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业务</a:t>
            </a:r>
            <a:r>
              <a:rPr kumimoji="1" lang="en-US" altLang="zh-CN" dirty="0"/>
              <a:t>/</a:t>
            </a:r>
            <a:r>
              <a:rPr kumimoji="1" lang="zh-CN" altLang="en-US" dirty="0"/>
              <a:t>品牌   退款</a:t>
            </a:r>
            <a:r>
              <a:rPr kumimoji="1" lang="en-US" altLang="zh-CN" dirty="0"/>
              <a:t>/</a:t>
            </a:r>
            <a:r>
              <a:rPr kumimoji="1" lang="zh-CN" altLang="en-US" dirty="0"/>
              <a:t>支付   点餐</a:t>
            </a:r>
            <a:r>
              <a:rPr kumimoji="1" lang="en-US" altLang="zh-CN" dirty="0"/>
              <a:t>/</a:t>
            </a:r>
            <a:r>
              <a:rPr kumimoji="1" lang="zh-CN" altLang="en-US" dirty="0"/>
              <a:t>商城   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  <a:pPr/>
              <a:t>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096057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  <a:pPr/>
              <a:t>1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21299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6">
            <a:extLst>
              <a:ext uri="{FF2B5EF4-FFF2-40B4-BE49-F238E27FC236}">
                <a16:creationId xmlns:a16="http://schemas.microsoft.com/office/drawing/2014/main" id="{C91E1877-7D7F-4F7B-BE4C-31F7982F28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0708" y="4905190"/>
            <a:ext cx="2088232" cy="22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02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10000">
        <p14:prism/>
      </p:transition>
    </mc:Choice>
    <mc:Fallback xmlns="">
      <p:transition spd="slow" advTm="10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​​ 14">
            <a:extLst>
              <a:ext uri="{FF2B5EF4-FFF2-40B4-BE49-F238E27FC236}">
                <a16:creationId xmlns:a16="http://schemas.microsoft.com/office/drawing/2014/main" id="{25A01FFA-28F6-40A3-AEC7-12D24DE12494}"/>
              </a:ext>
            </a:extLst>
          </p:cNvPr>
          <p:cNvCxnSpPr/>
          <p:nvPr userDrawn="1"/>
        </p:nvCxnSpPr>
        <p:spPr>
          <a:xfrm>
            <a:off x="33513" y="627534"/>
            <a:ext cx="9074991" cy="0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921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10000">
        <p14:prism/>
      </p:transition>
    </mc:Choice>
    <mc:Fallback xmlns="">
      <p:transition spd="slow" advTm="10000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E37400-0646-4690-B3CD-AFE7E0746041}" type="datetimeFigureOut">
              <a:rPr lang="zh-CN" altLang="en-US" smtClean="0"/>
              <a:pPr/>
              <a:t>2020/9/1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7543FE73-A404-45C1-B77A-6DB3BD9EA95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6094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10000">
        <p14:prism/>
      </p:transition>
    </mc:Choice>
    <mc:Fallback xmlns="">
      <p:transition spd="slow" advTm="1000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6" r:id="rId2"/>
    <p:sldLayoutId id="2147483657" r:id="rId3"/>
  </p:sldLayoutIdLst>
  <mc:AlternateContent xmlns:mc="http://schemas.openxmlformats.org/markup-compatibility/2006" xmlns:p14="http://schemas.microsoft.com/office/powerpoint/2010/main">
    <mc:Choice Requires="p14">
      <p:transition spd="slow" p14:dur="1200" advTm="10000">
        <p14:prism/>
      </p:transition>
    </mc:Choice>
    <mc:Fallback xmlns="">
      <p:transition spd="slow" advTm="10000">
        <p:fade/>
      </p:transition>
    </mc:Fallback>
  </mc:AlternateConten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微软雅黑" pitchFamily="34" charset="-122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8.png"/><Relationship Id="rId4" Type="http://schemas.openxmlformats.org/officeDocument/2006/relationships/image" Target="../media/image22.svg"/><Relationship Id="rId9" Type="http://schemas.openxmlformats.org/officeDocument/2006/relationships/image" Target="../media/image27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notesSlide" Target="../notesSlides/notesSlide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矩形 619"/>
          <p:cNvSpPr/>
          <p:nvPr/>
        </p:nvSpPr>
        <p:spPr>
          <a:xfrm>
            <a:off x="0" y="1329144"/>
            <a:ext cx="9144000" cy="17364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97" name="组合 596"/>
          <p:cNvGrpSpPr/>
          <p:nvPr/>
        </p:nvGrpSpPr>
        <p:grpSpPr>
          <a:xfrm>
            <a:off x="920066" y="1132308"/>
            <a:ext cx="2080670" cy="2080670"/>
            <a:chOff x="304800" y="673100"/>
            <a:chExt cx="4000500" cy="4000500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598" name="同心圆 597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99" name="椭圆 598"/>
            <p:cNvSpPr/>
            <p:nvPr/>
          </p:nvSpPr>
          <p:spPr>
            <a:xfrm>
              <a:off x="392113" y="760413"/>
              <a:ext cx="3825874" cy="3825874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00" name="椭圆 599"/>
          <p:cNvSpPr/>
          <p:nvPr/>
        </p:nvSpPr>
        <p:spPr>
          <a:xfrm>
            <a:off x="234150" y="2685470"/>
            <a:ext cx="677676" cy="677676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1" name="椭圆 600"/>
          <p:cNvSpPr/>
          <p:nvPr/>
        </p:nvSpPr>
        <p:spPr>
          <a:xfrm>
            <a:off x="3284053" y="3839338"/>
            <a:ext cx="274777" cy="274777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02" name="组合 601"/>
          <p:cNvGrpSpPr/>
          <p:nvPr/>
        </p:nvGrpSpPr>
        <p:grpSpPr>
          <a:xfrm>
            <a:off x="664418" y="1192205"/>
            <a:ext cx="301060" cy="301060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03" name="同心圆 602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04" name="椭圆 603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05" name="组合 604"/>
          <p:cNvGrpSpPr/>
          <p:nvPr/>
        </p:nvGrpSpPr>
        <p:grpSpPr>
          <a:xfrm>
            <a:off x="2650511" y="609119"/>
            <a:ext cx="623903" cy="623903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606" name="同心圆 605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07" name="椭圆 606"/>
            <p:cNvSpPr/>
            <p:nvPr/>
          </p:nvSpPr>
          <p:spPr>
            <a:xfrm>
              <a:off x="392113" y="760413"/>
              <a:ext cx="3825874" cy="3825874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08" name="组合 607"/>
          <p:cNvGrpSpPr/>
          <p:nvPr/>
        </p:nvGrpSpPr>
        <p:grpSpPr>
          <a:xfrm>
            <a:off x="7642415" y="2954672"/>
            <a:ext cx="219777" cy="219777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09" name="同心圆 608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0" name="椭圆 609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11" name="组合 610"/>
          <p:cNvGrpSpPr/>
          <p:nvPr/>
        </p:nvGrpSpPr>
        <p:grpSpPr>
          <a:xfrm>
            <a:off x="7236296" y="2921644"/>
            <a:ext cx="287919" cy="287919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12" name="同心圆 611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3" name="椭圆 612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14" name="椭圆 613"/>
          <p:cNvSpPr/>
          <p:nvPr/>
        </p:nvSpPr>
        <p:spPr>
          <a:xfrm>
            <a:off x="5662236" y="3867894"/>
            <a:ext cx="274777" cy="274777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5" name="椭圆 614"/>
          <p:cNvSpPr/>
          <p:nvPr/>
        </p:nvSpPr>
        <p:spPr>
          <a:xfrm>
            <a:off x="1310839" y="3132154"/>
            <a:ext cx="137389" cy="137389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16" name="组合 615"/>
          <p:cNvGrpSpPr/>
          <p:nvPr/>
        </p:nvGrpSpPr>
        <p:grpSpPr>
          <a:xfrm>
            <a:off x="1448228" y="3996626"/>
            <a:ext cx="713989" cy="713989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617" name="同心圆 616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8" name="椭圆 617"/>
            <p:cNvSpPr/>
            <p:nvPr/>
          </p:nvSpPr>
          <p:spPr>
            <a:xfrm>
              <a:off x="406534" y="673100"/>
              <a:ext cx="3825876" cy="3825876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622" name="TextBox 7"/>
          <p:cNvSpPr>
            <a:spLocks noChangeArrowheads="1"/>
          </p:cNvSpPr>
          <p:nvPr/>
        </p:nvSpPr>
        <p:spPr bwMode="auto">
          <a:xfrm>
            <a:off x="2416569" y="1986436"/>
            <a:ext cx="661380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914400"/>
            <a:r>
              <a:rPr lang="en-US" altLang="zh-CN" sz="32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rPr>
              <a:t>Yumchina </a:t>
            </a:r>
            <a:r>
              <a:rPr lang="zh-CN" altLang="en-US" sz="32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rPr>
              <a:t>支付中心 </a:t>
            </a:r>
            <a:r>
              <a:rPr lang="en-US" altLang="zh-CN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rPr>
              <a:t>Ⅱ </a:t>
            </a:r>
            <a:endParaRPr lang="zh-CN" altLang="en-US" sz="32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微软雅黑" pitchFamily="34" charset="-122"/>
            </a:endParaRPr>
          </a:p>
        </p:txBody>
      </p:sp>
      <p:cxnSp>
        <p:nvCxnSpPr>
          <p:cNvPr id="624" name="直接连接符 623"/>
          <p:cNvCxnSpPr/>
          <p:nvPr/>
        </p:nvCxnSpPr>
        <p:spPr>
          <a:xfrm>
            <a:off x="3076546" y="2571750"/>
            <a:ext cx="5447228" cy="0"/>
          </a:xfrm>
          <a:prstGeom prst="line">
            <a:avLst/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>
            <a:extLst>
              <a:ext uri="{FF2B5EF4-FFF2-40B4-BE49-F238E27FC236}">
                <a16:creationId xmlns:a16="http://schemas.microsoft.com/office/drawing/2014/main" id="{DFDD0E75-99FD-4DD2-A1E0-9BB41966DA1D}"/>
              </a:ext>
            </a:extLst>
          </p:cNvPr>
          <p:cNvSpPr txBox="1"/>
          <p:nvPr/>
        </p:nvSpPr>
        <p:spPr>
          <a:xfrm>
            <a:off x="3635895" y="3867894"/>
            <a:ext cx="86409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汇报人：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7ECABDA0-C27A-404F-952D-5B627806BD97}"/>
              </a:ext>
            </a:extLst>
          </p:cNvPr>
          <p:cNvSpPr txBox="1"/>
          <p:nvPr/>
        </p:nvSpPr>
        <p:spPr>
          <a:xfrm>
            <a:off x="5989984" y="3867894"/>
            <a:ext cx="187220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时间：</a:t>
            </a:r>
            <a:r>
              <a:rPr lang="en-US" altLang="zh-CN" sz="1600" b="1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2020.09</a:t>
            </a:r>
            <a:endParaRPr lang="zh-CN" altLang="en-US" sz="1600" b="1" dirty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4" name="图片 4">
            <a:extLst>
              <a:ext uri="{FF2B5EF4-FFF2-40B4-BE49-F238E27FC236}">
                <a16:creationId xmlns:a16="http://schemas.microsoft.com/office/drawing/2014/main" id="{4FFC1586-2507-43BC-869C-438B9AB01E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1275606"/>
            <a:ext cx="1702623" cy="1622184"/>
          </a:xfrm>
          <a:prstGeom prst="rect">
            <a:avLst/>
          </a:prstGeom>
        </p:spPr>
      </p:pic>
      <p:sp>
        <p:nvSpPr>
          <p:cNvPr id="31" name="文本框 3">
            <a:extLst>
              <a:ext uri="{FF2B5EF4-FFF2-40B4-BE49-F238E27FC236}">
                <a16:creationId xmlns:a16="http://schemas.microsoft.com/office/drawing/2014/main" id="{8F1ECA11-9F54-4ADA-8F76-861381382423}"/>
              </a:ext>
            </a:extLst>
          </p:cNvPr>
          <p:cNvSpPr txBox="1"/>
          <p:nvPr/>
        </p:nvSpPr>
        <p:spPr>
          <a:xfrm>
            <a:off x="4480401" y="3867894"/>
            <a:ext cx="107092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600" b="1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Jason Wu</a:t>
            </a:r>
            <a:endParaRPr lang="zh-CN" altLang="en-US" sz="1600" b="1" dirty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文本框 32">
            <a:extLst>
              <a:ext uri="{FF2B5EF4-FFF2-40B4-BE49-F238E27FC236}">
                <a16:creationId xmlns:a16="http://schemas.microsoft.com/office/drawing/2014/main" id="{7ECABDA0-C27A-404F-952D-5B627806BD97}"/>
              </a:ext>
            </a:extLst>
          </p:cNvPr>
          <p:cNvSpPr txBox="1"/>
          <p:nvPr/>
        </p:nvSpPr>
        <p:spPr>
          <a:xfrm>
            <a:off x="4864056" y="2640883"/>
            <a:ext cx="238480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roject No. </a:t>
            </a:r>
            <a:r>
              <a:rPr lang="en-US" altLang="zh-CN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020164</a:t>
            </a: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5044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Freeform 5">
            <a:extLst>
              <a:ext uri="{FF2B5EF4-FFF2-40B4-BE49-F238E27FC236}">
                <a16:creationId xmlns:a16="http://schemas.microsoft.com/office/drawing/2014/main" id="{880E15FB-8448-494C-B644-B7BB5E2BD69C}"/>
              </a:ext>
            </a:extLst>
          </p:cNvPr>
          <p:cNvSpPr>
            <a:spLocks/>
          </p:cNvSpPr>
          <p:nvPr/>
        </p:nvSpPr>
        <p:spPr bwMode="auto">
          <a:xfrm>
            <a:off x="632030" y="803962"/>
            <a:ext cx="6976763" cy="2623886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  <a:prstDash val="dashDot"/>
          </a:ln>
          <a:effectLst/>
        </p:spPr>
        <p:txBody>
          <a:bodyPr wrap="square" lIns="182880" tIns="137160" rIns="137160" bIns="137160" rtlCol="0" anchor="t">
            <a:noAutofit/>
          </a:bodyPr>
          <a:lstStyle/>
          <a:p>
            <a:endParaRPr lang="zh-CN" altLang="en-US" sz="1200" b="1" dirty="0">
              <a:solidFill>
                <a:srgbClr val="C00000"/>
              </a:solidFill>
            </a:endParaRPr>
          </a:p>
        </p:txBody>
      </p:sp>
      <p:sp>
        <p:nvSpPr>
          <p:cNvPr id="107" name="梯形 106">
            <a:extLst>
              <a:ext uri="{FF2B5EF4-FFF2-40B4-BE49-F238E27FC236}">
                <a16:creationId xmlns:a16="http://schemas.microsoft.com/office/drawing/2014/main" id="{FC758D87-7359-8D4E-BA90-C0339E5FB23A}"/>
              </a:ext>
            </a:extLst>
          </p:cNvPr>
          <p:cNvSpPr/>
          <p:nvPr/>
        </p:nvSpPr>
        <p:spPr>
          <a:xfrm>
            <a:off x="5140756" y="2632860"/>
            <a:ext cx="1645902" cy="371751"/>
          </a:xfrm>
          <a:prstGeom prst="trapezoid">
            <a:avLst>
              <a:gd name="adj" fmla="val 100798"/>
            </a:avLst>
          </a:prstGeom>
          <a:gradFill flip="none" rotWithShape="1">
            <a:gsLst>
              <a:gs pos="0">
                <a:schemeClr val="bg1">
                  <a:lumMod val="75000"/>
                  <a:alpha val="58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1" name="Freeform 5">
            <a:extLst>
              <a:ext uri="{FF2B5EF4-FFF2-40B4-BE49-F238E27FC236}">
                <a16:creationId xmlns:a16="http://schemas.microsoft.com/office/drawing/2014/main" id="{6F01215D-D35D-6341-804E-1E7E7974AA4C}"/>
              </a:ext>
            </a:extLst>
          </p:cNvPr>
          <p:cNvSpPr>
            <a:spLocks/>
          </p:cNvSpPr>
          <p:nvPr/>
        </p:nvSpPr>
        <p:spPr bwMode="auto">
          <a:xfrm>
            <a:off x="4512643" y="3510436"/>
            <a:ext cx="3096151" cy="40992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lIns="182880" tIns="137160" rIns="137160" bIns="137160" rtlCol="0" anchor="t">
            <a:noAutofit/>
          </a:bodyPr>
          <a:lstStyle/>
          <a:p>
            <a:endParaRPr lang="zh-CN" altLang="en-US" sz="1200" b="1" dirty="0">
              <a:solidFill>
                <a:srgbClr val="C00000"/>
              </a:solidFill>
            </a:endParaRPr>
          </a:p>
        </p:txBody>
      </p:sp>
      <p:sp>
        <p:nvSpPr>
          <p:cNvPr id="5" name="Text Box 18"/>
          <p:cNvSpPr txBox="1">
            <a:spLocks noChangeArrowheads="1"/>
          </p:cNvSpPr>
          <p:nvPr/>
        </p:nvSpPr>
        <p:spPr bwMode="gray">
          <a:xfrm>
            <a:off x="27500" y="195486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lvl="0"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线下数据归集</a:t>
            </a:r>
            <a:r>
              <a:rPr lang="en-US" altLang="zh-CN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/</a:t>
            </a: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百胜数字资产管理 </a:t>
            </a:r>
            <a:r>
              <a:rPr lang="en-US" altLang="zh-CN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– </a:t>
            </a: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数据收口，统一规化 </a:t>
            </a:r>
          </a:p>
        </p:txBody>
      </p:sp>
      <p:sp>
        <p:nvSpPr>
          <p:cNvPr id="52" name="Rounded Rectangle 26">
            <a:extLst>
              <a:ext uri="{FF2B5EF4-FFF2-40B4-BE49-F238E27FC236}">
                <a16:creationId xmlns:a16="http://schemas.microsoft.com/office/drawing/2014/main" id="{588323B3-C599-1342-85D0-2C349E692AAB}"/>
              </a:ext>
            </a:extLst>
          </p:cNvPr>
          <p:cNvSpPr/>
          <p:nvPr/>
        </p:nvSpPr>
        <p:spPr>
          <a:xfrm>
            <a:off x="622505" y="4226776"/>
            <a:ext cx="1092822" cy="36119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/>
            <a:r>
              <a:rPr lang="en-US" altLang="zh-CN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CPOS</a:t>
            </a:r>
            <a:endParaRPr lang="da-DK" altLang="zh-CN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4" name="Rounded Rectangle 26">
            <a:extLst>
              <a:ext uri="{FF2B5EF4-FFF2-40B4-BE49-F238E27FC236}">
                <a16:creationId xmlns:a16="http://schemas.microsoft.com/office/drawing/2014/main" id="{96C436E9-CF43-6B43-B020-E3C0F70111D8}"/>
              </a:ext>
            </a:extLst>
          </p:cNvPr>
          <p:cNvSpPr/>
          <p:nvPr/>
        </p:nvSpPr>
        <p:spPr>
          <a:xfrm>
            <a:off x="1852992" y="4226776"/>
            <a:ext cx="1000054" cy="35738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/>
            <a:r>
              <a:rPr lang="en-US" altLang="zh-CN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Kiosk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5" name="Rounded Rectangle 26">
            <a:extLst>
              <a:ext uri="{FF2B5EF4-FFF2-40B4-BE49-F238E27FC236}">
                <a16:creationId xmlns:a16="http://schemas.microsoft.com/office/drawing/2014/main" id="{77F55817-FC26-E74A-A5AE-86096270ADAC}"/>
              </a:ext>
            </a:extLst>
          </p:cNvPr>
          <p:cNvSpPr/>
          <p:nvPr/>
        </p:nvSpPr>
        <p:spPr>
          <a:xfrm>
            <a:off x="2955357" y="4226776"/>
            <a:ext cx="936104" cy="35738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银二代</a:t>
            </a:r>
          </a:p>
        </p:txBody>
      </p:sp>
      <p:sp>
        <p:nvSpPr>
          <p:cNvPr id="3" name="矩形 2"/>
          <p:cNvSpPr/>
          <p:nvPr/>
        </p:nvSpPr>
        <p:spPr>
          <a:xfrm>
            <a:off x="632030" y="3512892"/>
            <a:ext cx="3075874" cy="40746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solidFill>
                  <a:schemeClr val="tx1"/>
                </a:solidFill>
              </a:rPr>
              <a:t>OH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850056" y="2211764"/>
            <a:ext cx="2857847" cy="4857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6" name="文本框 65"/>
          <p:cNvSpPr txBox="1"/>
          <p:nvPr/>
        </p:nvSpPr>
        <p:spPr>
          <a:xfrm>
            <a:off x="2412987" y="2342359"/>
            <a:ext cx="92719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数据加工</a:t>
            </a:r>
          </a:p>
        </p:txBody>
      </p:sp>
      <p:sp>
        <p:nvSpPr>
          <p:cNvPr id="67" name="文本框 66"/>
          <p:cNvSpPr txBox="1"/>
          <p:nvPr/>
        </p:nvSpPr>
        <p:spPr>
          <a:xfrm>
            <a:off x="1236390" y="2332332"/>
            <a:ext cx="97845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数据处理</a:t>
            </a:r>
          </a:p>
        </p:txBody>
      </p:sp>
      <p:pic>
        <p:nvPicPr>
          <p:cNvPr id="68" name="图形 7">
            <a:extLst>
              <a:ext uri="{FF2B5EF4-FFF2-40B4-BE49-F238E27FC236}">
                <a16:creationId xmlns:a16="http://schemas.microsoft.com/office/drawing/2014/main" id="{FF60CA61-1341-CC47-9CB1-E2DDDA19B5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062869" y="2357346"/>
            <a:ext cx="259397" cy="259397"/>
          </a:xfrm>
          <a:prstGeom prst="rect">
            <a:avLst/>
          </a:prstGeom>
        </p:spPr>
      </p:pic>
      <p:sp>
        <p:nvSpPr>
          <p:cNvPr id="70" name="Shape 3350"/>
          <p:cNvSpPr/>
          <p:nvPr/>
        </p:nvSpPr>
        <p:spPr>
          <a:xfrm>
            <a:off x="1959509" y="1363405"/>
            <a:ext cx="457786" cy="4297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C00000"/>
          </a:solidFill>
          <a:ln w="12700">
            <a:miter lim="400000"/>
          </a:ln>
        </p:spPr>
        <p:txBody>
          <a:bodyPr lIns="0" tIns="0" rIns="0" bIns="0" anchor="ctr"/>
          <a:lstStyle>
            <a:defPPr>
              <a:defRPr lang="zh-CN"/>
            </a:defPPr>
            <a:lvl1pPr marL="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659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1318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6977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2636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8295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40175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96765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53355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170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71" name="图片 7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516" y="1377866"/>
            <a:ext cx="201891" cy="189257"/>
          </a:xfrm>
          <a:prstGeom prst="rect">
            <a:avLst/>
          </a:prstGeom>
        </p:spPr>
      </p:pic>
      <p:sp>
        <p:nvSpPr>
          <p:cNvPr id="72" name="文本框 71"/>
          <p:cNvSpPr txBox="1"/>
          <p:nvPr/>
        </p:nvSpPr>
        <p:spPr>
          <a:xfrm>
            <a:off x="1869510" y="1603477"/>
            <a:ext cx="59901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AP</a:t>
            </a:r>
            <a:r>
              <a:rPr lang="zh-CN" altLang="en-US" sz="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报表</a:t>
            </a:r>
            <a:endParaRPr lang="en-US" altLang="zh-CN" sz="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4" name="Shape 3349"/>
          <p:cNvSpPr/>
          <p:nvPr/>
        </p:nvSpPr>
        <p:spPr>
          <a:xfrm>
            <a:off x="1067990" y="1368366"/>
            <a:ext cx="455875" cy="4274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C00000"/>
          </a:solidFill>
          <a:ln w="12700">
            <a:miter lim="400000"/>
          </a:ln>
        </p:spPr>
        <p:txBody>
          <a:bodyPr lIns="0" tIns="0" rIns="0" bIns="0" anchor="ctr"/>
          <a:lstStyle>
            <a:defPPr>
              <a:defRPr lang="zh-CN"/>
            </a:defPPr>
            <a:lvl1pPr marL="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659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1318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6977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2636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8295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40175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96765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53355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 sz="3200"/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5" name="文本框 74"/>
          <p:cNvSpPr txBox="1"/>
          <p:nvPr/>
        </p:nvSpPr>
        <p:spPr>
          <a:xfrm>
            <a:off x="1099383" y="1571008"/>
            <a:ext cx="452758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统一退款</a:t>
            </a:r>
            <a:endParaRPr lang="en-US" altLang="zh-CN" sz="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76" name="图片 7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2017" y="1400053"/>
            <a:ext cx="182312" cy="172051"/>
          </a:xfrm>
          <a:prstGeom prst="rect">
            <a:avLst/>
          </a:prstGeom>
        </p:spPr>
      </p:pic>
      <p:sp>
        <p:nvSpPr>
          <p:cNvPr id="78" name="Shape 3348"/>
          <p:cNvSpPr/>
          <p:nvPr/>
        </p:nvSpPr>
        <p:spPr>
          <a:xfrm>
            <a:off x="2781529" y="1361044"/>
            <a:ext cx="473816" cy="4569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C00000"/>
          </a:solidFill>
          <a:ln w="12700">
            <a:miter lim="400000"/>
          </a:ln>
        </p:spPr>
        <p:txBody>
          <a:bodyPr lIns="0" tIns="0" rIns="0" bIns="0" anchor="ctr"/>
          <a:lstStyle>
            <a:defPPr>
              <a:defRPr lang="zh-CN"/>
            </a:defPPr>
            <a:lvl1pPr marL="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659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1318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6977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2636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82950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40175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96765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53355" algn="l" defTabSz="131318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 sz="3200"/>
            </a:pPr>
            <a:endParaRPr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79" name="图片 7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9798" y="1427117"/>
            <a:ext cx="172052" cy="172052"/>
          </a:xfrm>
          <a:prstGeom prst="rect">
            <a:avLst/>
          </a:prstGeom>
        </p:spPr>
      </p:pic>
      <p:sp>
        <p:nvSpPr>
          <p:cNvPr id="80" name="文本框 79"/>
          <p:cNvSpPr txBox="1"/>
          <p:nvPr/>
        </p:nvSpPr>
        <p:spPr>
          <a:xfrm>
            <a:off x="2821234" y="1593340"/>
            <a:ext cx="52727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统一对账</a:t>
            </a:r>
            <a:endParaRPr lang="en-US" altLang="zh-CN" sz="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上箭头 5"/>
          <p:cNvSpPr/>
          <p:nvPr/>
        </p:nvSpPr>
        <p:spPr>
          <a:xfrm>
            <a:off x="1027981" y="3977518"/>
            <a:ext cx="300919" cy="212930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上箭头 81"/>
          <p:cNvSpPr/>
          <p:nvPr/>
        </p:nvSpPr>
        <p:spPr>
          <a:xfrm>
            <a:off x="2237226" y="3977518"/>
            <a:ext cx="300919" cy="212930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上箭头 82"/>
          <p:cNvSpPr/>
          <p:nvPr/>
        </p:nvSpPr>
        <p:spPr>
          <a:xfrm>
            <a:off x="3272949" y="3977518"/>
            <a:ext cx="300919" cy="212930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上箭头 83"/>
          <p:cNvSpPr/>
          <p:nvPr/>
        </p:nvSpPr>
        <p:spPr>
          <a:xfrm>
            <a:off x="2143805" y="3345676"/>
            <a:ext cx="300919" cy="17597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6" name="上箭头 85"/>
          <p:cNvSpPr/>
          <p:nvPr/>
        </p:nvSpPr>
        <p:spPr>
          <a:xfrm>
            <a:off x="1120949" y="1907433"/>
            <a:ext cx="300919" cy="25764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上箭头 86"/>
          <p:cNvSpPr/>
          <p:nvPr/>
        </p:nvSpPr>
        <p:spPr>
          <a:xfrm>
            <a:off x="2017579" y="1907433"/>
            <a:ext cx="300919" cy="25764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上箭头 87"/>
          <p:cNvSpPr/>
          <p:nvPr/>
        </p:nvSpPr>
        <p:spPr>
          <a:xfrm>
            <a:off x="2837362" y="1907433"/>
            <a:ext cx="300919" cy="25764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6F01215D-D35D-6341-804E-1E7E7974AA4C}"/>
              </a:ext>
            </a:extLst>
          </p:cNvPr>
          <p:cNvSpPr>
            <a:spLocks/>
          </p:cNvSpPr>
          <p:nvPr/>
        </p:nvSpPr>
        <p:spPr bwMode="auto">
          <a:xfrm>
            <a:off x="4512644" y="4128725"/>
            <a:ext cx="3096151" cy="43441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/>
        </p:spPr>
        <p:txBody>
          <a:bodyPr wrap="square" lIns="182880" tIns="137160" rIns="137160" bIns="137160" rtlCol="0" anchor="t">
            <a:noAutofit/>
          </a:bodyPr>
          <a:lstStyle/>
          <a:p>
            <a:endParaRPr lang="zh-CN" altLang="en-US" sz="1200" b="1" dirty="0">
              <a:solidFill>
                <a:srgbClr val="C00000"/>
              </a:solidFill>
            </a:endParaRP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C11EFDEA-BB76-F943-86D4-403F6C060289}"/>
              </a:ext>
            </a:extLst>
          </p:cNvPr>
          <p:cNvSpPr txBox="1"/>
          <p:nvPr/>
        </p:nvSpPr>
        <p:spPr>
          <a:xfrm>
            <a:off x="5019910" y="4234334"/>
            <a:ext cx="61555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1"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消费者</a:t>
            </a:r>
          </a:p>
        </p:txBody>
      </p:sp>
      <p:sp>
        <p:nvSpPr>
          <p:cNvPr id="91" name="KSO_Shape"/>
          <p:cNvSpPr>
            <a:spLocks/>
          </p:cNvSpPr>
          <p:nvPr/>
        </p:nvSpPr>
        <p:spPr bwMode="auto">
          <a:xfrm>
            <a:off x="6426512" y="4234334"/>
            <a:ext cx="521702" cy="269244"/>
          </a:xfrm>
          <a:custGeom>
            <a:avLst/>
            <a:gdLst>
              <a:gd name="T0" fmla="*/ 2147483646 w 112"/>
              <a:gd name="T1" fmla="*/ 2147483646 h 77"/>
              <a:gd name="T2" fmla="*/ 2147483646 w 112"/>
              <a:gd name="T3" fmla="*/ 2147483646 h 77"/>
              <a:gd name="T4" fmla="*/ 2147483646 w 112"/>
              <a:gd name="T5" fmla="*/ 2147483646 h 77"/>
              <a:gd name="T6" fmla="*/ 2147483646 w 112"/>
              <a:gd name="T7" fmla="*/ 2147483646 h 77"/>
              <a:gd name="T8" fmla="*/ 2147483646 w 112"/>
              <a:gd name="T9" fmla="*/ 2147483646 h 77"/>
              <a:gd name="T10" fmla="*/ 0 w 112"/>
              <a:gd name="T11" fmla="*/ 2147483646 h 77"/>
              <a:gd name="T12" fmla="*/ 2147483646 w 112"/>
              <a:gd name="T13" fmla="*/ 2147483646 h 77"/>
              <a:gd name="T14" fmla="*/ 2147483646 w 112"/>
              <a:gd name="T15" fmla="*/ 2147483646 h 77"/>
              <a:gd name="T16" fmla="*/ 2147483646 w 112"/>
              <a:gd name="T17" fmla="*/ 2147483646 h 77"/>
              <a:gd name="T18" fmla="*/ 2147483646 w 112"/>
              <a:gd name="T19" fmla="*/ 2147483646 h 77"/>
              <a:gd name="T20" fmla="*/ 2147483646 w 112"/>
              <a:gd name="T21" fmla="*/ 2147483646 h 77"/>
              <a:gd name="T22" fmla="*/ 2147483646 w 112"/>
              <a:gd name="T23" fmla="*/ 2147483646 h 77"/>
              <a:gd name="T24" fmla="*/ 2147483646 w 112"/>
              <a:gd name="T25" fmla="*/ 2147483646 h 77"/>
              <a:gd name="T26" fmla="*/ 2147483646 w 112"/>
              <a:gd name="T27" fmla="*/ 2147483646 h 77"/>
              <a:gd name="T28" fmla="*/ 2147483646 w 112"/>
              <a:gd name="T29" fmla="*/ 2147483646 h 77"/>
              <a:gd name="T30" fmla="*/ 2147483646 w 112"/>
              <a:gd name="T31" fmla="*/ 2147483646 h 77"/>
              <a:gd name="T32" fmla="*/ 2147483646 w 112"/>
              <a:gd name="T33" fmla="*/ 2147483646 h 77"/>
              <a:gd name="T34" fmla="*/ 2147483646 w 112"/>
              <a:gd name="T35" fmla="*/ 2147483646 h 77"/>
              <a:gd name="T36" fmla="*/ 2147483646 w 112"/>
              <a:gd name="T37" fmla="*/ 2147483646 h 77"/>
              <a:gd name="T38" fmla="*/ 2147483646 w 112"/>
              <a:gd name="T39" fmla="*/ 2147483646 h 77"/>
              <a:gd name="T40" fmla="*/ 2147483646 w 112"/>
              <a:gd name="T41" fmla="*/ 2147483646 h 77"/>
              <a:gd name="T42" fmla="*/ 2147483646 w 112"/>
              <a:gd name="T43" fmla="*/ 2147483646 h 77"/>
              <a:gd name="T44" fmla="*/ 2147483646 w 112"/>
              <a:gd name="T45" fmla="*/ 2147483646 h 77"/>
              <a:gd name="T46" fmla="*/ 2147483646 w 112"/>
              <a:gd name="T47" fmla="*/ 2147483646 h 77"/>
              <a:gd name="T48" fmla="*/ 2147483646 w 112"/>
              <a:gd name="T49" fmla="*/ 2147483646 h 77"/>
              <a:gd name="T50" fmla="*/ 2147483646 w 112"/>
              <a:gd name="T51" fmla="*/ 2147483646 h 77"/>
              <a:gd name="T52" fmla="*/ 2147483646 w 112"/>
              <a:gd name="T53" fmla="*/ 2147483646 h 77"/>
              <a:gd name="T54" fmla="*/ 2147483646 w 112"/>
              <a:gd name="T55" fmla="*/ 2147483646 h 77"/>
              <a:gd name="T56" fmla="*/ 2147483646 w 112"/>
              <a:gd name="T57" fmla="*/ 2147483646 h 77"/>
              <a:gd name="T58" fmla="*/ 2147483646 w 112"/>
              <a:gd name="T59" fmla="*/ 2147483646 h 77"/>
              <a:gd name="T60" fmla="*/ 2147483646 w 112"/>
              <a:gd name="T61" fmla="*/ 2147483646 h 77"/>
              <a:gd name="T62" fmla="*/ 2147483646 w 112"/>
              <a:gd name="T63" fmla="*/ 2147483646 h 77"/>
              <a:gd name="T64" fmla="*/ 2147483646 w 112"/>
              <a:gd name="T65" fmla="*/ 2147483646 h 77"/>
              <a:gd name="T66" fmla="*/ 2147483646 w 112"/>
              <a:gd name="T67" fmla="*/ 2147483646 h 77"/>
              <a:gd name="T68" fmla="*/ 2147483646 w 112"/>
              <a:gd name="T69" fmla="*/ 2147483646 h 77"/>
              <a:gd name="T70" fmla="*/ 2147483646 w 112"/>
              <a:gd name="T71" fmla="*/ 2147483646 h 77"/>
              <a:gd name="T72" fmla="*/ 2147483646 w 112"/>
              <a:gd name="T73" fmla="*/ 2147483646 h 77"/>
              <a:gd name="T74" fmla="*/ 2147483646 w 112"/>
              <a:gd name="T75" fmla="*/ 2147483646 h 77"/>
              <a:gd name="T76" fmla="*/ 2147483646 w 112"/>
              <a:gd name="T77" fmla="*/ 2147483646 h 77"/>
              <a:gd name="T78" fmla="*/ 2147483646 w 112"/>
              <a:gd name="T79" fmla="*/ 2147483646 h 77"/>
              <a:gd name="T80" fmla="*/ 2147483646 w 112"/>
              <a:gd name="T81" fmla="*/ 2147483646 h 77"/>
              <a:gd name="T82" fmla="*/ 2147483646 w 112"/>
              <a:gd name="T83" fmla="*/ 2147483646 h 77"/>
              <a:gd name="T84" fmla="*/ 2147483646 w 112"/>
              <a:gd name="T85" fmla="*/ 2147483646 h 77"/>
              <a:gd name="T86" fmla="*/ 2147483646 w 112"/>
              <a:gd name="T87" fmla="*/ 2147483646 h 7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12" h="77">
                <a:moveTo>
                  <a:pt x="56" y="0"/>
                </a:moveTo>
                <a:cubicBezTo>
                  <a:pt x="62" y="0"/>
                  <a:pt x="66" y="4"/>
                  <a:pt x="66" y="10"/>
                </a:cubicBezTo>
                <a:cubicBezTo>
                  <a:pt x="66" y="15"/>
                  <a:pt x="62" y="20"/>
                  <a:pt x="56" y="20"/>
                </a:cubicBezTo>
                <a:cubicBezTo>
                  <a:pt x="51" y="20"/>
                  <a:pt x="46" y="15"/>
                  <a:pt x="46" y="10"/>
                </a:cubicBezTo>
                <a:cubicBezTo>
                  <a:pt x="46" y="4"/>
                  <a:pt x="51" y="0"/>
                  <a:pt x="56" y="0"/>
                </a:cubicBezTo>
                <a:close/>
                <a:moveTo>
                  <a:pt x="15" y="49"/>
                </a:moveTo>
                <a:cubicBezTo>
                  <a:pt x="15" y="66"/>
                  <a:pt x="15" y="66"/>
                  <a:pt x="15" y="66"/>
                </a:cubicBezTo>
                <a:cubicBezTo>
                  <a:pt x="10" y="66"/>
                  <a:pt x="10" y="66"/>
                  <a:pt x="10" y="66"/>
                </a:cubicBez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9" y="52"/>
                  <a:pt x="9" y="52"/>
                </a:cubicBezTo>
                <a:cubicBezTo>
                  <a:pt x="9" y="66"/>
                  <a:pt x="9" y="66"/>
                  <a:pt x="9" y="66"/>
                </a:cubicBezTo>
                <a:cubicBezTo>
                  <a:pt x="4" y="66"/>
                  <a:pt x="4" y="66"/>
                  <a:pt x="4" y="66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46"/>
                  <a:pt x="4" y="46"/>
                  <a:pt x="4" y="46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46"/>
                  <a:pt x="4" y="46"/>
                  <a:pt x="4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1"/>
                  <a:pt x="1" y="29"/>
                  <a:pt x="4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3" y="30"/>
                  <a:pt x="13" y="30"/>
                  <a:pt x="13" y="31"/>
                </a:cubicBezTo>
                <a:cubicBezTo>
                  <a:pt x="13" y="49"/>
                  <a:pt x="13" y="49"/>
                  <a:pt x="13" y="49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0" y="15"/>
                </a:moveTo>
                <a:cubicBezTo>
                  <a:pt x="13" y="15"/>
                  <a:pt x="16" y="18"/>
                  <a:pt x="16" y="22"/>
                </a:cubicBezTo>
                <a:cubicBezTo>
                  <a:pt x="16" y="23"/>
                  <a:pt x="16" y="24"/>
                  <a:pt x="15" y="25"/>
                </a:cubicBezTo>
                <a:cubicBezTo>
                  <a:pt x="15" y="26"/>
                  <a:pt x="15" y="26"/>
                  <a:pt x="14" y="26"/>
                </a:cubicBezTo>
                <a:cubicBezTo>
                  <a:pt x="13" y="27"/>
                  <a:pt x="12" y="28"/>
                  <a:pt x="10" y="28"/>
                </a:cubicBezTo>
                <a:cubicBezTo>
                  <a:pt x="6" y="28"/>
                  <a:pt x="3" y="25"/>
                  <a:pt x="3" y="22"/>
                </a:cubicBezTo>
                <a:cubicBezTo>
                  <a:pt x="3" y="18"/>
                  <a:pt x="6" y="15"/>
                  <a:pt x="10" y="15"/>
                </a:cubicBezTo>
                <a:close/>
                <a:moveTo>
                  <a:pt x="96" y="49"/>
                </a:moveTo>
                <a:cubicBezTo>
                  <a:pt x="96" y="66"/>
                  <a:pt x="96" y="66"/>
                  <a:pt x="96" y="66"/>
                </a:cubicBezTo>
                <a:cubicBezTo>
                  <a:pt x="101" y="66"/>
                  <a:pt x="101" y="66"/>
                  <a:pt x="101" y="66"/>
                </a:cubicBezTo>
                <a:cubicBezTo>
                  <a:pt x="101" y="52"/>
                  <a:pt x="101" y="52"/>
                  <a:pt x="101" y="52"/>
                </a:cubicBezTo>
                <a:cubicBezTo>
                  <a:pt x="102" y="52"/>
                  <a:pt x="102" y="52"/>
                  <a:pt x="102" y="52"/>
                </a:cubicBezTo>
                <a:cubicBezTo>
                  <a:pt x="102" y="66"/>
                  <a:pt x="102" y="66"/>
                  <a:pt x="102" y="66"/>
                </a:cubicBezTo>
                <a:cubicBezTo>
                  <a:pt x="107" y="66"/>
                  <a:pt x="107" y="66"/>
                  <a:pt x="107" y="66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12" y="46"/>
                  <a:pt x="112" y="46"/>
                  <a:pt x="112" y="46"/>
                </a:cubicBezTo>
                <a:cubicBezTo>
                  <a:pt x="112" y="33"/>
                  <a:pt x="112" y="33"/>
                  <a:pt x="112" y="33"/>
                </a:cubicBezTo>
                <a:cubicBezTo>
                  <a:pt x="112" y="31"/>
                  <a:pt x="110" y="29"/>
                  <a:pt x="107" y="29"/>
                </a:cubicBezTo>
                <a:cubicBezTo>
                  <a:pt x="98" y="29"/>
                  <a:pt x="98" y="29"/>
                  <a:pt x="98" y="29"/>
                </a:cubicBezTo>
                <a:cubicBezTo>
                  <a:pt x="98" y="30"/>
                  <a:pt x="98" y="30"/>
                  <a:pt x="98" y="31"/>
                </a:cubicBezTo>
                <a:cubicBezTo>
                  <a:pt x="98" y="49"/>
                  <a:pt x="98" y="49"/>
                  <a:pt x="98" y="49"/>
                </a:cubicBezTo>
                <a:cubicBezTo>
                  <a:pt x="96" y="49"/>
                  <a:pt x="96" y="49"/>
                  <a:pt x="96" y="49"/>
                </a:cubicBezTo>
                <a:close/>
                <a:moveTo>
                  <a:pt x="101" y="15"/>
                </a:moveTo>
                <a:cubicBezTo>
                  <a:pt x="98" y="15"/>
                  <a:pt x="95" y="18"/>
                  <a:pt x="95" y="22"/>
                </a:cubicBezTo>
                <a:cubicBezTo>
                  <a:pt x="95" y="23"/>
                  <a:pt x="95" y="24"/>
                  <a:pt x="96" y="25"/>
                </a:cubicBezTo>
                <a:cubicBezTo>
                  <a:pt x="96" y="26"/>
                  <a:pt x="97" y="26"/>
                  <a:pt x="97" y="26"/>
                </a:cubicBezTo>
                <a:cubicBezTo>
                  <a:pt x="98" y="27"/>
                  <a:pt x="100" y="28"/>
                  <a:pt x="101" y="28"/>
                </a:cubicBezTo>
                <a:cubicBezTo>
                  <a:pt x="105" y="28"/>
                  <a:pt x="108" y="25"/>
                  <a:pt x="108" y="22"/>
                </a:cubicBezTo>
                <a:cubicBezTo>
                  <a:pt x="108" y="18"/>
                  <a:pt x="105" y="15"/>
                  <a:pt x="101" y="15"/>
                </a:cubicBezTo>
                <a:close/>
                <a:moveTo>
                  <a:pt x="75" y="51"/>
                </a:moveTo>
                <a:cubicBezTo>
                  <a:pt x="75" y="72"/>
                  <a:pt x="75" y="72"/>
                  <a:pt x="75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0" y="54"/>
                  <a:pt x="80" y="54"/>
                  <a:pt x="80" y="54"/>
                </a:cubicBezTo>
                <a:cubicBezTo>
                  <a:pt x="82" y="54"/>
                  <a:pt x="82" y="54"/>
                  <a:pt x="82" y="54"/>
                </a:cubicBezTo>
                <a:cubicBezTo>
                  <a:pt x="82" y="72"/>
                  <a:pt x="82" y="72"/>
                  <a:pt x="82" y="72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51"/>
                  <a:pt x="87" y="51"/>
                  <a:pt x="87" y="51"/>
                </a:cubicBezTo>
                <a:cubicBezTo>
                  <a:pt x="87" y="47"/>
                  <a:pt x="87" y="47"/>
                  <a:pt x="87" y="47"/>
                </a:cubicBezTo>
                <a:cubicBezTo>
                  <a:pt x="87" y="36"/>
                  <a:pt x="87" y="36"/>
                  <a:pt x="87" y="36"/>
                </a:cubicBezTo>
                <a:cubicBezTo>
                  <a:pt x="88" y="36"/>
                  <a:pt x="88" y="36"/>
                  <a:pt x="88" y="36"/>
                </a:cubicBezTo>
                <a:cubicBezTo>
                  <a:pt x="88" y="47"/>
                  <a:pt x="88" y="47"/>
                  <a:pt x="88" y="47"/>
                </a:cubicBezTo>
                <a:cubicBezTo>
                  <a:pt x="94" y="47"/>
                  <a:pt x="94" y="47"/>
                  <a:pt x="94" y="47"/>
                </a:cubicBezTo>
                <a:cubicBezTo>
                  <a:pt x="94" y="31"/>
                  <a:pt x="94" y="31"/>
                  <a:pt x="94" y="31"/>
                </a:cubicBezTo>
                <a:cubicBezTo>
                  <a:pt x="94" y="28"/>
                  <a:pt x="91" y="26"/>
                  <a:pt x="88" y="26"/>
                </a:cubicBezTo>
                <a:cubicBezTo>
                  <a:pt x="77" y="26"/>
                  <a:pt x="77" y="26"/>
                  <a:pt x="77" y="26"/>
                </a:cubicBezTo>
                <a:cubicBezTo>
                  <a:pt x="77" y="27"/>
                  <a:pt x="77" y="28"/>
                  <a:pt x="77" y="28"/>
                </a:cubicBezTo>
                <a:cubicBezTo>
                  <a:pt x="77" y="51"/>
                  <a:pt x="77" y="51"/>
                  <a:pt x="77" y="51"/>
                </a:cubicBezTo>
                <a:cubicBezTo>
                  <a:pt x="75" y="51"/>
                  <a:pt x="75" y="51"/>
                  <a:pt x="75" y="51"/>
                </a:cubicBezTo>
                <a:close/>
                <a:moveTo>
                  <a:pt x="65" y="47"/>
                </a:moveTo>
                <a:cubicBezTo>
                  <a:pt x="65" y="32"/>
                  <a:pt x="65" y="32"/>
                  <a:pt x="65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4" y="47"/>
                  <a:pt x="64" y="47"/>
                  <a:pt x="64" y="47"/>
                </a:cubicBezTo>
                <a:cubicBezTo>
                  <a:pt x="64" y="50"/>
                  <a:pt x="64" y="50"/>
                  <a:pt x="64" y="50"/>
                </a:cubicBezTo>
                <a:cubicBezTo>
                  <a:pt x="64" y="77"/>
                  <a:pt x="64" y="77"/>
                  <a:pt x="64" y="77"/>
                </a:cubicBezTo>
                <a:cubicBezTo>
                  <a:pt x="57" y="77"/>
                  <a:pt x="57" y="77"/>
                  <a:pt x="57" y="77"/>
                </a:cubicBezTo>
                <a:cubicBezTo>
                  <a:pt x="57" y="55"/>
                  <a:pt x="57" y="55"/>
                  <a:pt x="57" y="55"/>
                </a:cubicBezTo>
                <a:cubicBezTo>
                  <a:pt x="55" y="55"/>
                  <a:pt x="55" y="55"/>
                  <a:pt x="55" y="55"/>
                </a:cubicBezTo>
                <a:cubicBezTo>
                  <a:pt x="55" y="77"/>
                  <a:pt x="55" y="77"/>
                  <a:pt x="55" y="77"/>
                </a:cubicBezTo>
                <a:cubicBezTo>
                  <a:pt x="48" y="77"/>
                  <a:pt x="48" y="77"/>
                  <a:pt x="48" y="77"/>
                </a:cubicBezTo>
                <a:cubicBezTo>
                  <a:pt x="48" y="50"/>
                  <a:pt x="48" y="50"/>
                  <a:pt x="48" y="50"/>
                </a:cubicBezTo>
                <a:cubicBezTo>
                  <a:pt x="48" y="47"/>
                  <a:pt x="48" y="47"/>
                  <a:pt x="48" y="47"/>
                </a:cubicBezTo>
                <a:cubicBezTo>
                  <a:pt x="48" y="32"/>
                  <a:pt x="48" y="32"/>
                  <a:pt x="48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7" y="47"/>
                  <a:pt x="47" y="47"/>
                  <a:pt x="47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27"/>
                  <a:pt x="41" y="27"/>
                  <a:pt x="41" y="27"/>
                </a:cubicBezTo>
                <a:cubicBezTo>
                  <a:pt x="41" y="24"/>
                  <a:pt x="44" y="21"/>
                  <a:pt x="47" y="21"/>
                </a:cubicBezTo>
                <a:cubicBezTo>
                  <a:pt x="66" y="21"/>
                  <a:pt x="46" y="21"/>
                  <a:pt x="65" y="21"/>
                </a:cubicBezTo>
                <a:cubicBezTo>
                  <a:pt x="69" y="21"/>
                  <a:pt x="71" y="24"/>
                  <a:pt x="71" y="27"/>
                </a:cubicBezTo>
                <a:cubicBezTo>
                  <a:pt x="71" y="47"/>
                  <a:pt x="71" y="47"/>
                  <a:pt x="71" y="47"/>
                </a:cubicBezTo>
                <a:cubicBezTo>
                  <a:pt x="70" y="47"/>
                  <a:pt x="68" y="47"/>
                  <a:pt x="65" y="47"/>
                </a:cubicBezTo>
                <a:close/>
                <a:moveTo>
                  <a:pt x="37" y="51"/>
                </a:moveTo>
                <a:cubicBezTo>
                  <a:pt x="37" y="72"/>
                  <a:pt x="37" y="72"/>
                  <a:pt x="37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54"/>
                  <a:pt x="31" y="54"/>
                  <a:pt x="31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72"/>
                  <a:pt x="30" y="72"/>
                  <a:pt x="30" y="72"/>
                </a:cubicBezTo>
                <a:cubicBezTo>
                  <a:pt x="24" y="72"/>
                  <a:pt x="24" y="72"/>
                  <a:pt x="24" y="72"/>
                </a:cubicBezTo>
                <a:cubicBezTo>
                  <a:pt x="24" y="51"/>
                  <a:pt x="24" y="51"/>
                  <a:pt x="24" y="51"/>
                </a:cubicBezTo>
                <a:cubicBezTo>
                  <a:pt x="24" y="47"/>
                  <a:pt x="24" y="47"/>
                  <a:pt x="24" y="47"/>
                </a:cubicBezTo>
                <a:cubicBezTo>
                  <a:pt x="24" y="36"/>
                  <a:pt x="24" y="36"/>
                  <a:pt x="24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23" y="47"/>
                  <a:pt x="23" y="47"/>
                  <a:pt x="23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31"/>
                  <a:pt x="18" y="31"/>
                  <a:pt x="18" y="31"/>
                </a:cubicBezTo>
                <a:cubicBezTo>
                  <a:pt x="18" y="28"/>
                  <a:pt x="20" y="26"/>
                  <a:pt x="23" y="26"/>
                </a:cubicBezTo>
                <a:cubicBezTo>
                  <a:pt x="35" y="26"/>
                  <a:pt x="35" y="26"/>
                  <a:pt x="35" y="26"/>
                </a:cubicBezTo>
                <a:cubicBezTo>
                  <a:pt x="35" y="27"/>
                  <a:pt x="35" y="28"/>
                  <a:pt x="35" y="28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7" y="51"/>
                  <a:pt x="37" y="51"/>
                </a:cubicBezTo>
                <a:close/>
                <a:moveTo>
                  <a:pt x="31" y="9"/>
                </a:moveTo>
                <a:cubicBezTo>
                  <a:pt x="35" y="9"/>
                  <a:pt x="39" y="12"/>
                  <a:pt x="39" y="17"/>
                </a:cubicBezTo>
                <a:cubicBezTo>
                  <a:pt x="39" y="19"/>
                  <a:pt x="38" y="20"/>
                  <a:pt x="37" y="22"/>
                </a:cubicBezTo>
                <a:cubicBezTo>
                  <a:pt x="37" y="22"/>
                  <a:pt x="37" y="22"/>
                  <a:pt x="37" y="23"/>
                </a:cubicBezTo>
                <a:cubicBezTo>
                  <a:pt x="35" y="24"/>
                  <a:pt x="33" y="25"/>
                  <a:pt x="31" y="25"/>
                </a:cubicBezTo>
                <a:cubicBezTo>
                  <a:pt x="26" y="25"/>
                  <a:pt x="22" y="21"/>
                  <a:pt x="22" y="17"/>
                </a:cubicBezTo>
                <a:cubicBezTo>
                  <a:pt x="22" y="12"/>
                  <a:pt x="26" y="9"/>
                  <a:pt x="31" y="9"/>
                </a:cubicBezTo>
                <a:close/>
                <a:moveTo>
                  <a:pt x="81" y="9"/>
                </a:moveTo>
                <a:cubicBezTo>
                  <a:pt x="76" y="9"/>
                  <a:pt x="73" y="12"/>
                  <a:pt x="73" y="17"/>
                </a:cubicBezTo>
                <a:cubicBezTo>
                  <a:pt x="73" y="19"/>
                  <a:pt x="73" y="20"/>
                  <a:pt x="74" y="22"/>
                </a:cubicBezTo>
                <a:cubicBezTo>
                  <a:pt x="75" y="22"/>
                  <a:pt x="75" y="22"/>
                  <a:pt x="75" y="23"/>
                </a:cubicBezTo>
                <a:cubicBezTo>
                  <a:pt x="77" y="24"/>
                  <a:pt x="79" y="25"/>
                  <a:pt x="81" y="25"/>
                </a:cubicBezTo>
                <a:cubicBezTo>
                  <a:pt x="85" y="25"/>
                  <a:pt x="89" y="21"/>
                  <a:pt x="89" y="17"/>
                </a:cubicBezTo>
                <a:cubicBezTo>
                  <a:pt x="89" y="12"/>
                  <a:pt x="85" y="9"/>
                  <a:pt x="81" y="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 contourW="12700">
              <a:contourClr>
                <a:srgbClr val="FFFFFF"/>
              </a:contourClr>
            </a:sp3d>
          </a:bodyPr>
          <a:lstStyle>
            <a:defPPr>
              <a:defRPr lang="zh-CN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4" name="圆角矩形 93">
            <a:extLst>
              <a:ext uri="{FF2B5EF4-FFF2-40B4-BE49-F238E27FC236}">
                <a16:creationId xmlns:a16="http://schemas.microsoft.com/office/drawing/2014/main" id="{4D8FE094-38CA-1147-8E0B-9D3B5AD7BF2D}"/>
              </a:ext>
            </a:extLst>
          </p:cNvPr>
          <p:cNvSpPr/>
          <p:nvPr/>
        </p:nvSpPr>
        <p:spPr>
          <a:xfrm>
            <a:off x="6332674" y="3595263"/>
            <a:ext cx="1081375" cy="270474"/>
          </a:xfrm>
          <a:prstGeom prst="roundRect">
            <a:avLst>
              <a:gd name="adj" fmla="val 1076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线上</a:t>
            </a:r>
          </a:p>
        </p:txBody>
      </p:sp>
      <p:sp>
        <p:nvSpPr>
          <p:cNvPr id="97" name="圆角矩形 96">
            <a:extLst>
              <a:ext uri="{FF2B5EF4-FFF2-40B4-BE49-F238E27FC236}">
                <a16:creationId xmlns:a16="http://schemas.microsoft.com/office/drawing/2014/main" id="{47F4F2CF-3648-7D4C-9E43-FCE087DC975C}"/>
              </a:ext>
            </a:extLst>
          </p:cNvPr>
          <p:cNvSpPr/>
          <p:nvPr/>
        </p:nvSpPr>
        <p:spPr>
          <a:xfrm>
            <a:off x="4728625" y="3595263"/>
            <a:ext cx="1081375" cy="270474"/>
          </a:xfrm>
          <a:prstGeom prst="roundRect">
            <a:avLst>
              <a:gd name="adj" fmla="val 1076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线下</a:t>
            </a:r>
          </a:p>
        </p:txBody>
      </p:sp>
      <p:sp>
        <p:nvSpPr>
          <p:cNvPr id="102" name="圆角矩形 101">
            <a:extLst>
              <a:ext uri="{FF2B5EF4-FFF2-40B4-BE49-F238E27FC236}">
                <a16:creationId xmlns:a16="http://schemas.microsoft.com/office/drawing/2014/main" id="{980524F0-45F1-4940-96E7-0161C5A8E713}"/>
              </a:ext>
            </a:extLst>
          </p:cNvPr>
          <p:cNvSpPr/>
          <p:nvPr/>
        </p:nvSpPr>
        <p:spPr>
          <a:xfrm>
            <a:off x="4730229" y="1635646"/>
            <a:ext cx="1188132" cy="479160"/>
          </a:xfrm>
          <a:prstGeom prst="roundRect">
            <a:avLst>
              <a:gd name="adj" fmla="val 1076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支付</a:t>
            </a:r>
          </a:p>
        </p:txBody>
      </p:sp>
      <p:sp>
        <p:nvSpPr>
          <p:cNvPr id="103" name="圆角矩形 102">
            <a:extLst>
              <a:ext uri="{FF2B5EF4-FFF2-40B4-BE49-F238E27FC236}">
                <a16:creationId xmlns:a16="http://schemas.microsoft.com/office/drawing/2014/main" id="{01FCF3AE-93D0-2149-AEAA-2A00C52A3262}"/>
              </a:ext>
            </a:extLst>
          </p:cNvPr>
          <p:cNvSpPr/>
          <p:nvPr/>
        </p:nvSpPr>
        <p:spPr>
          <a:xfrm>
            <a:off x="6019251" y="1635646"/>
            <a:ext cx="1188132" cy="479160"/>
          </a:xfrm>
          <a:prstGeom prst="roundRect">
            <a:avLst>
              <a:gd name="adj" fmla="val 1076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退款</a:t>
            </a:r>
          </a:p>
        </p:txBody>
      </p:sp>
      <p:sp>
        <p:nvSpPr>
          <p:cNvPr id="104" name="圆角矩形 103">
            <a:extLst>
              <a:ext uri="{FF2B5EF4-FFF2-40B4-BE49-F238E27FC236}">
                <a16:creationId xmlns:a16="http://schemas.microsoft.com/office/drawing/2014/main" id="{E95D0F69-235B-5D44-B037-5A7FB8B546E2}"/>
              </a:ext>
            </a:extLst>
          </p:cNvPr>
          <p:cNvSpPr/>
          <p:nvPr/>
        </p:nvSpPr>
        <p:spPr>
          <a:xfrm>
            <a:off x="4730229" y="2214944"/>
            <a:ext cx="1188132" cy="479160"/>
          </a:xfrm>
          <a:prstGeom prst="roundRect">
            <a:avLst>
              <a:gd name="adj" fmla="val 1076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核销</a:t>
            </a:r>
          </a:p>
        </p:txBody>
      </p:sp>
      <p:sp>
        <p:nvSpPr>
          <p:cNvPr id="105" name="圆角矩形 104">
            <a:extLst>
              <a:ext uri="{FF2B5EF4-FFF2-40B4-BE49-F238E27FC236}">
                <a16:creationId xmlns:a16="http://schemas.microsoft.com/office/drawing/2014/main" id="{FFA47135-9095-1047-8F13-68D5B4030F33}"/>
              </a:ext>
            </a:extLst>
          </p:cNvPr>
          <p:cNvSpPr/>
          <p:nvPr/>
        </p:nvSpPr>
        <p:spPr>
          <a:xfrm>
            <a:off x="6019251" y="2203001"/>
            <a:ext cx="1188132" cy="479160"/>
          </a:xfrm>
          <a:prstGeom prst="roundRect">
            <a:avLst>
              <a:gd name="adj" fmla="val 1076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反核销</a:t>
            </a:r>
          </a:p>
        </p:txBody>
      </p:sp>
      <p:sp>
        <p:nvSpPr>
          <p:cNvPr id="106" name="圆角矩形 105">
            <a:extLst>
              <a:ext uri="{FF2B5EF4-FFF2-40B4-BE49-F238E27FC236}">
                <a16:creationId xmlns:a16="http://schemas.microsoft.com/office/drawing/2014/main" id="{B412F2FF-A65E-A844-9136-047A8CDA5AB5}"/>
              </a:ext>
            </a:extLst>
          </p:cNvPr>
          <p:cNvSpPr/>
          <p:nvPr/>
        </p:nvSpPr>
        <p:spPr>
          <a:xfrm>
            <a:off x="4725238" y="2845353"/>
            <a:ext cx="2482145" cy="394887"/>
          </a:xfrm>
          <a:prstGeom prst="roundRect">
            <a:avLst>
              <a:gd name="adj" fmla="val 107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规则配置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9" name="文本框 108">
            <a:extLst>
              <a:ext uri="{FF2B5EF4-FFF2-40B4-BE49-F238E27FC236}">
                <a16:creationId xmlns:a16="http://schemas.microsoft.com/office/drawing/2014/main" id="{07B14AB5-1554-D945-B35F-98AFD52A11EF}"/>
              </a:ext>
            </a:extLst>
          </p:cNvPr>
          <p:cNvSpPr txBox="1"/>
          <p:nvPr/>
        </p:nvSpPr>
        <p:spPr>
          <a:xfrm>
            <a:off x="4007093" y="720688"/>
            <a:ext cx="718145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rPr>
              <a:t>支付中心</a:t>
            </a:r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798C6AE6-BB38-1647-B6C1-55EF90B23F0B}"/>
              </a:ext>
            </a:extLst>
          </p:cNvPr>
          <p:cNvSpPr/>
          <p:nvPr/>
        </p:nvSpPr>
        <p:spPr>
          <a:xfrm>
            <a:off x="850056" y="1119901"/>
            <a:ext cx="2857847" cy="722096"/>
          </a:xfrm>
          <a:prstGeom prst="rect">
            <a:avLst/>
          </a:prstGeom>
          <a:solidFill>
            <a:srgbClr val="FFBFC0">
              <a:alpha val="24706"/>
            </a:srgbClr>
          </a:solidFill>
          <a:ln w="9525">
            <a:solidFill>
              <a:srgbClr val="FFBFC0"/>
            </a:solidFill>
            <a:prstDash val="sysDash"/>
          </a:ln>
          <a:effectLst/>
        </p:spPr>
        <p:txBody>
          <a:bodyPr wrap="square" lIns="182880" tIns="137160" rIns="137160" bIns="137160" rtlCol="0" anchor="t">
            <a:noAutofit/>
          </a:bodyPr>
          <a:lstStyle/>
          <a:p>
            <a:endParaRPr lang="zh-CN" altLang="en-US" sz="1200" b="1">
              <a:solidFill>
                <a:srgbClr val="C00000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111" name="文本框 110"/>
          <p:cNvSpPr txBox="1"/>
          <p:nvPr/>
        </p:nvSpPr>
        <p:spPr>
          <a:xfrm>
            <a:off x="1588084" y="1140050"/>
            <a:ext cx="138178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rPr>
              <a:t>  </a:t>
            </a:r>
            <a:r>
              <a:rPr lang="zh-CN" altLang="en-US" sz="1000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未来实现（线下支付）</a:t>
            </a:r>
          </a:p>
        </p:txBody>
      </p:sp>
      <p:sp>
        <p:nvSpPr>
          <p:cNvPr id="121" name="Freeform 23">
            <a:extLst>
              <a:ext uri="{FF2B5EF4-FFF2-40B4-BE49-F238E27FC236}">
                <a16:creationId xmlns:a16="http://schemas.microsoft.com/office/drawing/2014/main" id="{CE8877C1-08CA-2A4F-BAF6-3ED34C18EA5F}"/>
              </a:ext>
            </a:extLst>
          </p:cNvPr>
          <p:cNvSpPr>
            <a:spLocks/>
          </p:cNvSpPr>
          <p:nvPr/>
        </p:nvSpPr>
        <p:spPr bwMode="auto">
          <a:xfrm>
            <a:off x="7906842" y="2786497"/>
            <a:ext cx="413010" cy="334123"/>
          </a:xfrm>
          <a:prstGeom prst="rect">
            <a:avLst/>
          </a:prstGeom>
          <a:solidFill>
            <a:schemeClr val="bg1">
              <a:lumMod val="50000"/>
            </a:schemeClr>
          </a:solidFill>
          <a:ln w="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zh-CN" altLang="en-US" sz="1200" dirty="0">
              <a:solidFill>
                <a:schemeClr val="bg1">
                  <a:lumMod val="8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2" name="文本框 121">
            <a:extLst>
              <a:ext uri="{FF2B5EF4-FFF2-40B4-BE49-F238E27FC236}">
                <a16:creationId xmlns:a16="http://schemas.microsoft.com/office/drawing/2014/main" id="{4C8AF45D-A3EB-BE49-A5F6-A0CCF8923323}"/>
              </a:ext>
            </a:extLst>
          </p:cNvPr>
          <p:cNvSpPr txBox="1"/>
          <p:nvPr/>
        </p:nvSpPr>
        <p:spPr>
          <a:xfrm>
            <a:off x="7945199" y="2876614"/>
            <a:ext cx="36440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1" lang="zh-CN" altLang="en-US" sz="1000" b="1" dirty="0">
                <a:solidFill>
                  <a:schemeClr val="bg1">
                    <a:lumMod val="95000"/>
                  </a:schemeClr>
                </a:solidFill>
                <a:latin typeface="微软雅黑" pitchFamily="34" charset="-122"/>
                <a:ea typeface="微软雅黑" pitchFamily="34" charset="-122"/>
              </a:rPr>
              <a:t>权益</a:t>
            </a:r>
          </a:p>
        </p:txBody>
      </p:sp>
      <p:sp>
        <p:nvSpPr>
          <p:cNvPr id="123" name="圆角矩形 122">
            <a:extLst>
              <a:ext uri="{FF2B5EF4-FFF2-40B4-BE49-F238E27FC236}">
                <a16:creationId xmlns:a16="http://schemas.microsoft.com/office/drawing/2014/main" id="{B412F2FF-A65E-A844-9136-047A8CDA5AB5}"/>
              </a:ext>
            </a:extLst>
          </p:cNvPr>
          <p:cNvSpPr/>
          <p:nvPr/>
        </p:nvSpPr>
        <p:spPr>
          <a:xfrm>
            <a:off x="850058" y="2845353"/>
            <a:ext cx="2857846" cy="394887"/>
          </a:xfrm>
          <a:prstGeom prst="roundRect">
            <a:avLst>
              <a:gd name="adj" fmla="val 107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线下支付数据收集</a:t>
            </a:r>
            <a:endParaRPr lang="en-US" altLang="zh-CN" sz="120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5" name="Freeform 23">
            <a:extLst>
              <a:ext uri="{FF2B5EF4-FFF2-40B4-BE49-F238E27FC236}">
                <a16:creationId xmlns:a16="http://schemas.microsoft.com/office/drawing/2014/main" id="{CE8877C1-08CA-2A4F-BAF6-3ED34C18EA5F}"/>
              </a:ext>
            </a:extLst>
          </p:cNvPr>
          <p:cNvSpPr>
            <a:spLocks/>
          </p:cNvSpPr>
          <p:nvPr/>
        </p:nvSpPr>
        <p:spPr bwMode="auto">
          <a:xfrm>
            <a:off x="7906842" y="2059116"/>
            <a:ext cx="413010" cy="334123"/>
          </a:xfrm>
          <a:prstGeom prst="rect">
            <a:avLst/>
          </a:prstGeom>
          <a:solidFill>
            <a:srgbClr val="93000C"/>
          </a:solidFill>
          <a:ln w="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zh-CN" altLang="en-US"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19" name="图形 64">
            <a:extLst>
              <a:ext uri="{FF2B5EF4-FFF2-40B4-BE49-F238E27FC236}">
                <a16:creationId xmlns:a16="http://schemas.microsoft.com/office/drawing/2014/main" id="{DF29D90D-E353-CC48-8B88-B416AFDCFB8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8019244" y="2139828"/>
            <a:ext cx="188205" cy="188205"/>
          </a:xfrm>
          <a:prstGeom prst="rect">
            <a:avLst/>
          </a:prstGeom>
        </p:spPr>
      </p:pic>
      <p:sp>
        <p:nvSpPr>
          <p:cNvPr id="126" name="Freeform 23">
            <a:extLst>
              <a:ext uri="{FF2B5EF4-FFF2-40B4-BE49-F238E27FC236}">
                <a16:creationId xmlns:a16="http://schemas.microsoft.com/office/drawing/2014/main" id="{CE8877C1-08CA-2A4F-BAF6-3ED34C18EA5F}"/>
              </a:ext>
            </a:extLst>
          </p:cNvPr>
          <p:cNvSpPr>
            <a:spLocks/>
          </p:cNvSpPr>
          <p:nvPr/>
        </p:nvSpPr>
        <p:spPr bwMode="auto">
          <a:xfrm>
            <a:off x="7906842" y="2430810"/>
            <a:ext cx="413010" cy="334123"/>
          </a:xfrm>
          <a:prstGeom prst="rect">
            <a:avLst/>
          </a:prstGeom>
          <a:solidFill>
            <a:schemeClr val="bg1">
              <a:lumMod val="50000"/>
            </a:schemeClr>
          </a:solidFill>
          <a:ln w="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zh-CN" altLang="en-US" sz="1200" dirty="0">
              <a:solidFill>
                <a:schemeClr val="bg1">
                  <a:lumMod val="8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4C8AF45D-A3EB-BE49-A5F6-A0CCF8923323}"/>
              </a:ext>
            </a:extLst>
          </p:cNvPr>
          <p:cNvSpPr txBox="1"/>
          <p:nvPr/>
        </p:nvSpPr>
        <p:spPr>
          <a:xfrm>
            <a:off x="8047015" y="2536102"/>
            <a:ext cx="2815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kumimoji="1" lang="zh-CN" altLang="en-US" sz="1000" b="1" dirty="0">
                <a:solidFill>
                  <a:schemeClr val="bg1">
                    <a:lumMod val="95000"/>
                  </a:schemeClr>
                </a:solidFill>
                <a:latin typeface="微软雅黑" pitchFamily="34" charset="-122"/>
                <a:ea typeface="微软雅黑" pitchFamily="34" charset="-122"/>
              </a:rPr>
              <a:t>券</a:t>
            </a:r>
          </a:p>
        </p:txBody>
      </p:sp>
      <p:sp>
        <p:nvSpPr>
          <p:cNvPr id="127" name="Freeform 23">
            <a:extLst>
              <a:ext uri="{FF2B5EF4-FFF2-40B4-BE49-F238E27FC236}">
                <a16:creationId xmlns:a16="http://schemas.microsoft.com/office/drawing/2014/main" id="{CE8877C1-08CA-2A4F-BAF6-3ED34C18EA5F}"/>
              </a:ext>
            </a:extLst>
          </p:cNvPr>
          <p:cNvSpPr>
            <a:spLocks/>
          </p:cNvSpPr>
          <p:nvPr/>
        </p:nvSpPr>
        <p:spPr bwMode="auto">
          <a:xfrm>
            <a:off x="7906842" y="1710036"/>
            <a:ext cx="413010" cy="334123"/>
          </a:xfrm>
          <a:prstGeom prst="rect">
            <a:avLst/>
          </a:prstGeom>
          <a:solidFill>
            <a:srgbClr val="93000C"/>
          </a:solidFill>
          <a:ln w="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zh-CN" altLang="en-US"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8" name="Freeform 23">
            <a:extLst>
              <a:ext uri="{FF2B5EF4-FFF2-40B4-BE49-F238E27FC236}">
                <a16:creationId xmlns:a16="http://schemas.microsoft.com/office/drawing/2014/main" id="{CE8877C1-08CA-2A4F-BAF6-3ED34C18EA5F}"/>
              </a:ext>
            </a:extLst>
          </p:cNvPr>
          <p:cNvSpPr>
            <a:spLocks/>
          </p:cNvSpPr>
          <p:nvPr/>
        </p:nvSpPr>
        <p:spPr bwMode="auto">
          <a:xfrm>
            <a:off x="7906842" y="1355432"/>
            <a:ext cx="413010" cy="334123"/>
          </a:xfrm>
          <a:prstGeom prst="rect">
            <a:avLst/>
          </a:prstGeom>
          <a:solidFill>
            <a:srgbClr val="93000C"/>
          </a:solidFill>
          <a:ln w="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zh-CN" altLang="en-US"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15" name="图片 114">
            <a:extLst>
              <a:ext uri="{FF2B5EF4-FFF2-40B4-BE49-F238E27FC236}">
                <a16:creationId xmlns:a16="http://schemas.microsoft.com/office/drawing/2014/main" id="{5AA61FE6-BD0F-3146-B630-E355771801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45199" y="1395677"/>
            <a:ext cx="285566" cy="228678"/>
          </a:xfrm>
          <a:prstGeom prst="rect">
            <a:avLst/>
          </a:prstGeom>
        </p:spPr>
      </p:pic>
      <p:sp>
        <p:nvSpPr>
          <p:cNvPr id="116" name="文本框 115">
            <a:extLst>
              <a:ext uri="{FF2B5EF4-FFF2-40B4-BE49-F238E27FC236}">
                <a16:creationId xmlns:a16="http://schemas.microsoft.com/office/drawing/2014/main" id="{1E3CB7C7-2DA3-4D45-B323-BC08CFA1EB1A}"/>
              </a:ext>
            </a:extLst>
          </p:cNvPr>
          <p:cNvSpPr txBox="1"/>
          <p:nvPr/>
        </p:nvSpPr>
        <p:spPr>
          <a:xfrm>
            <a:off x="7986767" y="1781656"/>
            <a:ext cx="54567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kumimoji="1" lang="zh-CN" altLang="en-US" sz="1000" b="1" dirty="0">
                <a:solidFill>
                  <a:schemeClr val="bg1">
                    <a:lumMod val="95000"/>
                  </a:schemeClr>
                </a:solidFill>
                <a:latin typeface="微软雅黑" pitchFamily="34" charset="-122"/>
                <a:ea typeface="微软雅黑" pitchFamily="34" charset="-122"/>
              </a:rPr>
              <a:t>余额</a:t>
            </a:r>
          </a:p>
        </p:txBody>
      </p:sp>
      <p:sp>
        <p:nvSpPr>
          <p:cNvPr id="129" name="右箭头 128">
            <a:extLst>
              <a:ext uri="{FF2B5EF4-FFF2-40B4-BE49-F238E27FC236}">
                <a16:creationId xmlns:a16="http://schemas.microsoft.com/office/drawing/2014/main" id="{01CB3AF3-596F-6148-B64F-2D3F8D03E384}"/>
              </a:ext>
            </a:extLst>
          </p:cNvPr>
          <p:cNvSpPr/>
          <p:nvPr/>
        </p:nvSpPr>
        <p:spPr>
          <a:xfrm>
            <a:off x="7456460" y="1729726"/>
            <a:ext cx="303260" cy="328547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0" name="右箭头 129">
            <a:extLst>
              <a:ext uri="{FF2B5EF4-FFF2-40B4-BE49-F238E27FC236}">
                <a16:creationId xmlns:a16="http://schemas.microsoft.com/office/drawing/2014/main" id="{85D9487A-956C-094B-BAF6-414D328AF495}"/>
              </a:ext>
            </a:extLst>
          </p:cNvPr>
          <p:cNvSpPr/>
          <p:nvPr/>
        </p:nvSpPr>
        <p:spPr>
          <a:xfrm>
            <a:off x="7456460" y="2630518"/>
            <a:ext cx="303260" cy="328547"/>
          </a:xfrm>
          <a:prstGeom prst="rightArrow">
            <a:avLst/>
          </a:prstGeom>
          <a:solidFill>
            <a:schemeClr val="bg1">
              <a:lumMod val="50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1" name="上箭头 130"/>
          <p:cNvSpPr/>
          <p:nvPr/>
        </p:nvSpPr>
        <p:spPr>
          <a:xfrm>
            <a:off x="5960335" y="3893988"/>
            <a:ext cx="300919" cy="212930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2" name="上箭头 131"/>
          <p:cNvSpPr/>
          <p:nvPr/>
        </p:nvSpPr>
        <p:spPr>
          <a:xfrm>
            <a:off x="6668117" y="3363636"/>
            <a:ext cx="300919" cy="17597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3" name="上箭头 132"/>
          <p:cNvSpPr/>
          <p:nvPr/>
        </p:nvSpPr>
        <p:spPr>
          <a:xfrm>
            <a:off x="5227619" y="3334461"/>
            <a:ext cx="300919" cy="175975"/>
          </a:xfrm>
          <a:prstGeom prst="up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4" name="圆角矩形 133">
            <a:extLst>
              <a:ext uri="{FF2B5EF4-FFF2-40B4-BE49-F238E27FC236}">
                <a16:creationId xmlns:a16="http://schemas.microsoft.com/office/drawing/2014/main" id="{01FCF3AE-93D0-2149-AEAA-2A00C52A3262}"/>
              </a:ext>
            </a:extLst>
          </p:cNvPr>
          <p:cNvSpPr/>
          <p:nvPr/>
        </p:nvSpPr>
        <p:spPr>
          <a:xfrm>
            <a:off x="4730727" y="1170379"/>
            <a:ext cx="2459216" cy="273621"/>
          </a:xfrm>
          <a:prstGeom prst="roundRect">
            <a:avLst>
              <a:gd name="adj" fmla="val 10760"/>
            </a:avLst>
          </a:prstGeom>
          <a:solidFill>
            <a:srgbClr val="FFDC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支付异常处理</a:t>
            </a:r>
          </a:p>
        </p:txBody>
      </p:sp>
      <p:cxnSp>
        <p:nvCxnSpPr>
          <p:cNvPr id="18" name="直接箭头连接符 17"/>
          <p:cNvCxnSpPr/>
          <p:nvPr/>
        </p:nvCxnSpPr>
        <p:spPr>
          <a:xfrm flipH="1">
            <a:off x="5960336" y="1521980"/>
            <a:ext cx="3371" cy="1183315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矩形 25"/>
          <p:cNvSpPr/>
          <p:nvPr/>
        </p:nvSpPr>
        <p:spPr>
          <a:xfrm>
            <a:off x="3947907" y="1151624"/>
            <a:ext cx="527948" cy="20886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7" name="右箭头 26"/>
          <p:cNvSpPr/>
          <p:nvPr/>
        </p:nvSpPr>
        <p:spPr>
          <a:xfrm>
            <a:off x="3717429" y="2953558"/>
            <a:ext cx="249078" cy="244127"/>
          </a:xfrm>
          <a:prstGeom prst="rightArrow">
            <a:avLst/>
          </a:prstGeom>
          <a:solidFill>
            <a:srgbClr val="D4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9" name="右箭头 138"/>
          <p:cNvSpPr/>
          <p:nvPr/>
        </p:nvSpPr>
        <p:spPr>
          <a:xfrm rot="10800000">
            <a:off x="4390880" y="2111866"/>
            <a:ext cx="246614" cy="244127"/>
          </a:xfrm>
          <a:prstGeom prst="rightArrow">
            <a:avLst/>
          </a:prstGeom>
          <a:solidFill>
            <a:srgbClr val="D4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0" name="右箭头 139"/>
          <p:cNvSpPr/>
          <p:nvPr/>
        </p:nvSpPr>
        <p:spPr>
          <a:xfrm rot="10800000">
            <a:off x="3654066" y="2364980"/>
            <a:ext cx="246614" cy="244127"/>
          </a:xfrm>
          <a:prstGeom prst="rightArrow">
            <a:avLst/>
          </a:prstGeom>
          <a:solidFill>
            <a:srgbClr val="D4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框 29"/>
          <p:cNvSpPr txBox="1"/>
          <p:nvPr/>
        </p:nvSpPr>
        <p:spPr>
          <a:xfrm>
            <a:off x="4125284" y="1350696"/>
            <a:ext cx="345722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统一支付数据</a:t>
            </a:r>
          </a:p>
        </p:txBody>
      </p:sp>
      <p:sp>
        <p:nvSpPr>
          <p:cNvPr id="141" name="Freeform 66"/>
          <p:cNvSpPr>
            <a:spLocks noEditPoints="1"/>
          </p:cNvSpPr>
          <p:nvPr/>
        </p:nvSpPr>
        <p:spPr bwMode="auto">
          <a:xfrm>
            <a:off x="4145108" y="2940166"/>
            <a:ext cx="190884" cy="174425"/>
          </a:xfrm>
          <a:custGeom>
            <a:avLst/>
            <a:gdLst/>
            <a:ahLst/>
            <a:cxnLst>
              <a:cxn ang="0">
                <a:pos x="55" y="9"/>
              </a:cxn>
              <a:cxn ang="0">
                <a:pos x="55" y="14"/>
              </a:cxn>
              <a:cxn ang="0">
                <a:pos x="27" y="23"/>
              </a:cxn>
              <a:cxn ang="0">
                <a:pos x="0" y="14"/>
              </a:cxn>
              <a:cxn ang="0">
                <a:pos x="0" y="9"/>
              </a:cxn>
              <a:cxn ang="0">
                <a:pos x="27" y="0"/>
              </a:cxn>
              <a:cxn ang="0">
                <a:pos x="55" y="9"/>
              </a:cxn>
              <a:cxn ang="0">
                <a:pos x="55" y="21"/>
              </a:cxn>
              <a:cxn ang="0">
                <a:pos x="55" y="27"/>
              </a:cxn>
              <a:cxn ang="0">
                <a:pos x="27" y="37"/>
              </a:cxn>
              <a:cxn ang="0">
                <a:pos x="0" y="27"/>
              </a:cxn>
              <a:cxn ang="0">
                <a:pos x="0" y="21"/>
              </a:cxn>
              <a:cxn ang="0">
                <a:pos x="27" y="27"/>
              </a:cxn>
              <a:cxn ang="0">
                <a:pos x="55" y="21"/>
              </a:cxn>
              <a:cxn ang="0">
                <a:pos x="55" y="35"/>
              </a:cxn>
              <a:cxn ang="0">
                <a:pos x="55" y="41"/>
              </a:cxn>
              <a:cxn ang="0">
                <a:pos x="27" y="50"/>
              </a:cxn>
              <a:cxn ang="0">
                <a:pos x="0" y="41"/>
              </a:cxn>
              <a:cxn ang="0">
                <a:pos x="0" y="35"/>
              </a:cxn>
              <a:cxn ang="0">
                <a:pos x="27" y="41"/>
              </a:cxn>
              <a:cxn ang="0">
                <a:pos x="55" y="35"/>
              </a:cxn>
              <a:cxn ang="0">
                <a:pos x="55" y="49"/>
              </a:cxn>
              <a:cxn ang="0">
                <a:pos x="55" y="55"/>
              </a:cxn>
              <a:cxn ang="0">
                <a:pos x="27" y="64"/>
              </a:cxn>
              <a:cxn ang="0">
                <a:pos x="0" y="55"/>
              </a:cxn>
              <a:cxn ang="0">
                <a:pos x="0" y="49"/>
              </a:cxn>
              <a:cxn ang="0">
                <a:pos x="27" y="55"/>
              </a:cxn>
              <a:cxn ang="0">
                <a:pos x="55" y="49"/>
              </a:cxn>
            </a:cxnLst>
            <a:rect l="0" t="0" r="r" b="b"/>
            <a:pathLst>
              <a:path w="55" h="64">
                <a:moveTo>
                  <a:pt x="55" y="9"/>
                </a:moveTo>
                <a:cubicBezTo>
                  <a:pt x="55" y="14"/>
                  <a:pt x="55" y="14"/>
                  <a:pt x="55" y="14"/>
                </a:cubicBezTo>
                <a:cubicBezTo>
                  <a:pt x="55" y="19"/>
                  <a:pt x="42" y="23"/>
                  <a:pt x="27" y="23"/>
                </a:cubicBezTo>
                <a:cubicBezTo>
                  <a:pt x="12" y="23"/>
                  <a:pt x="0" y="19"/>
                  <a:pt x="0" y="14"/>
                </a:cubicBezTo>
                <a:cubicBezTo>
                  <a:pt x="0" y="9"/>
                  <a:pt x="0" y="9"/>
                  <a:pt x="0" y="9"/>
                </a:cubicBezTo>
                <a:cubicBezTo>
                  <a:pt x="0" y="4"/>
                  <a:pt x="12" y="0"/>
                  <a:pt x="27" y="0"/>
                </a:cubicBezTo>
                <a:cubicBezTo>
                  <a:pt x="42" y="0"/>
                  <a:pt x="55" y="4"/>
                  <a:pt x="55" y="9"/>
                </a:cubicBezTo>
                <a:close/>
                <a:moveTo>
                  <a:pt x="55" y="21"/>
                </a:moveTo>
                <a:cubicBezTo>
                  <a:pt x="55" y="27"/>
                  <a:pt x="55" y="27"/>
                  <a:pt x="55" y="27"/>
                </a:cubicBezTo>
                <a:cubicBezTo>
                  <a:pt x="55" y="32"/>
                  <a:pt x="42" y="37"/>
                  <a:pt x="27" y="37"/>
                </a:cubicBezTo>
                <a:cubicBezTo>
                  <a:pt x="12" y="37"/>
                  <a:pt x="0" y="32"/>
                  <a:pt x="0" y="27"/>
                </a:cubicBezTo>
                <a:cubicBezTo>
                  <a:pt x="0" y="21"/>
                  <a:pt x="0" y="21"/>
                  <a:pt x="0" y="21"/>
                </a:cubicBezTo>
                <a:cubicBezTo>
                  <a:pt x="6" y="25"/>
                  <a:pt x="16" y="27"/>
                  <a:pt x="27" y="27"/>
                </a:cubicBezTo>
                <a:cubicBezTo>
                  <a:pt x="38" y="27"/>
                  <a:pt x="49" y="25"/>
                  <a:pt x="55" y="21"/>
                </a:cubicBezTo>
                <a:close/>
                <a:moveTo>
                  <a:pt x="55" y="35"/>
                </a:moveTo>
                <a:cubicBezTo>
                  <a:pt x="55" y="41"/>
                  <a:pt x="55" y="41"/>
                  <a:pt x="55" y="41"/>
                </a:cubicBezTo>
                <a:cubicBezTo>
                  <a:pt x="55" y="46"/>
                  <a:pt x="42" y="50"/>
                  <a:pt x="27" y="50"/>
                </a:cubicBezTo>
                <a:cubicBezTo>
                  <a:pt x="12" y="50"/>
                  <a:pt x="0" y="46"/>
                  <a:pt x="0" y="41"/>
                </a:cubicBezTo>
                <a:cubicBezTo>
                  <a:pt x="0" y="35"/>
                  <a:pt x="0" y="35"/>
                  <a:pt x="0" y="35"/>
                </a:cubicBezTo>
                <a:cubicBezTo>
                  <a:pt x="6" y="39"/>
                  <a:pt x="16" y="41"/>
                  <a:pt x="27" y="41"/>
                </a:cubicBezTo>
                <a:cubicBezTo>
                  <a:pt x="38" y="41"/>
                  <a:pt x="49" y="39"/>
                  <a:pt x="55" y="35"/>
                </a:cubicBezTo>
                <a:close/>
                <a:moveTo>
                  <a:pt x="55" y="49"/>
                </a:moveTo>
                <a:cubicBezTo>
                  <a:pt x="55" y="55"/>
                  <a:pt x="55" y="55"/>
                  <a:pt x="55" y="55"/>
                </a:cubicBezTo>
                <a:cubicBezTo>
                  <a:pt x="55" y="60"/>
                  <a:pt x="42" y="64"/>
                  <a:pt x="27" y="64"/>
                </a:cubicBezTo>
                <a:cubicBezTo>
                  <a:pt x="12" y="64"/>
                  <a:pt x="0" y="60"/>
                  <a:pt x="0" y="55"/>
                </a:cubicBezTo>
                <a:cubicBezTo>
                  <a:pt x="0" y="49"/>
                  <a:pt x="0" y="49"/>
                  <a:pt x="0" y="49"/>
                </a:cubicBezTo>
                <a:cubicBezTo>
                  <a:pt x="6" y="53"/>
                  <a:pt x="16" y="55"/>
                  <a:pt x="27" y="55"/>
                </a:cubicBezTo>
                <a:cubicBezTo>
                  <a:pt x="38" y="55"/>
                  <a:pt x="49" y="53"/>
                  <a:pt x="55" y="49"/>
                </a:cubicBezTo>
                <a:close/>
              </a:path>
            </a:pathLst>
          </a:custGeom>
          <a:solidFill>
            <a:srgbClr val="BD392F"/>
          </a:solidFill>
          <a:ln w="9525">
            <a:noFill/>
            <a:round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69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Box 18">
            <a:extLst>
              <a:ext uri="{FF2B5EF4-FFF2-40B4-BE49-F238E27FC236}">
                <a16:creationId xmlns:a16="http://schemas.microsoft.com/office/drawing/2014/main" id="{45964E87-9848-2E4B-AAD5-BDB12290A62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4796" y="195486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财务数据一致性核对 </a:t>
            </a:r>
            <a:r>
              <a:rPr lang="en-US" altLang="zh-CN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– </a:t>
            </a: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及时发现潜在风险</a:t>
            </a:r>
          </a:p>
        </p:txBody>
      </p:sp>
      <p:sp>
        <p:nvSpPr>
          <p:cNvPr id="47" name="ïṥḻiďè">
            <a:extLst>
              <a:ext uri="{FF2B5EF4-FFF2-40B4-BE49-F238E27FC236}">
                <a16:creationId xmlns:a16="http://schemas.microsoft.com/office/drawing/2014/main" id="{8AF6567E-DF95-4BAA-8193-C22BE4AF1F4C}"/>
              </a:ext>
            </a:extLst>
          </p:cNvPr>
          <p:cNvSpPr/>
          <p:nvPr/>
        </p:nvSpPr>
        <p:spPr>
          <a:xfrm>
            <a:off x="4376880" y="1534008"/>
            <a:ext cx="3096344" cy="1938411"/>
          </a:xfrm>
          <a:prstGeom prst="rect">
            <a:avLst/>
          </a:pr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>
            <a:outerShdw blurRad="254000" dist="127000" algn="ctr" rotWithShape="0">
              <a:schemeClr val="tx1">
                <a:lumMod val="85000"/>
                <a:lumOff val="15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en-US" altLang="zh-CN" sz="1600" b="1" dirty="0">
              <a:solidFill>
                <a:schemeClr val="tx1">
                  <a:lumMod val="85000"/>
                  <a:lumOff val="15000"/>
                  <a:alpha val="80000"/>
                </a:schemeClr>
              </a:solidFill>
            </a:endParaRPr>
          </a:p>
        </p:txBody>
      </p:sp>
      <p:sp>
        <p:nvSpPr>
          <p:cNvPr id="88" name="ïṥḻiďè">
            <a:extLst>
              <a:ext uri="{FF2B5EF4-FFF2-40B4-BE49-F238E27FC236}">
                <a16:creationId xmlns:a16="http://schemas.microsoft.com/office/drawing/2014/main" id="{079F0ED7-F987-4D26-8541-C0A17B7D94AF}"/>
              </a:ext>
            </a:extLst>
          </p:cNvPr>
          <p:cNvSpPr/>
          <p:nvPr/>
        </p:nvSpPr>
        <p:spPr>
          <a:xfrm>
            <a:off x="977837" y="1816651"/>
            <a:ext cx="2600935" cy="1907228"/>
          </a:xfrm>
          <a:prstGeom prst="rect">
            <a:avLst/>
          </a:pr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>
            <a:outerShdw blurRad="254000" dist="127000" algn="ctr" rotWithShape="0">
              <a:schemeClr val="tx1">
                <a:lumMod val="85000"/>
                <a:lumOff val="15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en-US" altLang="zh-CN" sz="1600" b="1" dirty="0">
              <a:solidFill>
                <a:schemeClr val="tx1">
                  <a:lumMod val="85000"/>
                  <a:lumOff val="15000"/>
                  <a:alpha val="80000"/>
                </a:schemeClr>
              </a:solidFill>
            </a:endParaRPr>
          </a:p>
        </p:txBody>
      </p:sp>
      <p:sp>
        <p:nvSpPr>
          <p:cNvPr id="94" name="îṩľïḓe">
            <a:extLst>
              <a:ext uri="{FF2B5EF4-FFF2-40B4-BE49-F238E27FC236}">
                <a16:creationId xmlns:a16="http://schemas.microsoft.com/office/drawing/2014/main" id="{BACFD153-58E4-45CB-9DC7-0BAB890B3CC0}"/>
              </a:ext>
            </a:extLst>
          </p:cNvPr>
          <p:cNvSpPr/>
          <p:nvPr/>
        </p:nvSpPr>
        <p:spPr>
          <a:xfrm rot="18437754" flipH="1">
            <a:off x="5662938" y="1301699"/>
            <a:ext cx="631974" cy="190500"/>
          </a:xfrm>
          <a:prstGeom prst="rightArrow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0" scaled="0"/>
          </a:gra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95" name="组合 52">
            <a:extLst>
              <a:ext uri="{FF2B5EF4-FFF2-40B4-BE49-F238E27FC236}">
                <a16:creationId xmlns:a16="http://schemas.microsoft.com/office/drawing/2014/main" id="{F4A6E937-19C5-44C6-8718-1540C7917F1B}"/>
              </a:ext>
            </a:extLst>
          </p:cNvPr>
          <p:cNvGrpSpPr/>
          <p:nvPr/>
        </p:nvGrpSpPr>
        <p:grpSpPr>
          <a:xfrm>
            <a:off x="1126176" y="2324460"/>
            <a:ext cx="2304256" cy="817493"/>
            <a:chOff x="2497205" y="2528163"/>
            <a:chExt cx="1151172" cy="284069"/>
          </a:xfrm>
        </p:grpSpPr>
        <p:sp>
          <p:nvSpPr>
            <p:cNvPr id="96" name="矩形 53">
              <a:extLst>
                <a:ext uri="{FF2B5EF4-FFF2-40B4-BE49-F238E27FC236}">
                  <a16:creationId xmlns:a16="http://schemas.microsoft.com/office/drawing/2014/main" id="{8DD7BBE4-9C10-4052-8E65-1F30189A8DE6}"/>
                </a:ext>
              </a:extLst>
            </p:cNvPr>
            <p:cNvSpPr/>
            <p:nvPr/>
          </p:nvSpPr>
          <p:spPr>
            <a:xfrm>
              <a:off x="2497205" y="2528902"/>
              <a:ext cx="1151172" cy="283330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7" name="íslíḓè">
              <a:extLst>
                <a:ext uri="{FF2B5EF4-FFF2-40B4-BE49-F238E27FC236}">
                  <a16:creationId xmlns:a16="http://schemas.microsoft.com/office/drawing/2014/main" id="{1EC3B3E3-01BC-4F92-802B-A287F1D2394B}"/>
                </a:ext>
              </a:extLst>
            </p:cNvPr>
            <p:cNvSpPr txBox="1"/>
            <p:nvPr/>
          </p:nvSpPr>
          <p:spPr>
            <a:xfrm>
              <a:off x="2497206" y="2528163"/>
              <a:ext cx="1031311" cy="2613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endParaRPr lang="en-US" altLang="zh-CN" sz="1000" b="1" dirty="0">
                <a:solidFill>
                  <a:schemeClr val="tx1">
                    <a:lumMod val="85000"/>
                    <a:lumOff val="15000"/>
                    <a:alpha val="80000"/>
                  </a:schemeClr>
                </a:solidFill>
                <a:latin typeface="+mj-ea"/>
                <a:ea typeface="+mj-ea"/>
              </a:endParaRPr>
            </a:p>
          </p:txBody>
        </p:sp>
      </p:grpSp>
      <p:sp>
        <p:nvSpPr>
          <p:cNvPr id="98" name="ïṩḷíďê">
            <a:extLst>
              <a:ext uri="{FF2B5EF4-FFF2-40B4-BE49-F238E27FC236}">
                <a16:creationId xmlns:a16="http://schemas.microsoft.com/office/drawing/2014/main" id="{9CFB5CA1-8A7C-4375-A82D-D3B07FE83910}"/>
              </a:ext>
            </a:extLst>
          </p:cNvPr>
          <p:cNvSpPr/>
          <p:nvPr/>
        </p:nvSpPr>
        <p:spPr>
          <a:xfrm>
            <a:off x="977837" y="1818573"/>
            <a:ext cx="1030981" cy="283330"/>
          </a:xfrm>
          <a:prstGeom prst="rect">
            <a:avLst/>
          </a:prstGeom>
          <a:solidFill>
            <a:srgbClr val="C00000"/>
          </a:solidFill>
          <a:ln w="12700" cap="rnd">
            <a:noFill/>
            <a:prstDash val="solid"/>
            <a:round/>
            <a:headEnd/>
            <a:tailEnd/>
          </a:ln>
          <a:effectLst>
            <a:outerShdw blurRad="254000" dist="127000" algn="ctr" rotWithShape="0">
              <a:schemeClr val="tx1">
                <a:lumMod val="85000"/>
                <a:lumOff val="15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r>
              <a:rPr lang="zh-CN" altLang="en-US" sz="1200" b="1" dirty="0">
                <a:solidFill>
                  <a:schemeClr val="bg1"/>
                </a:solidFill>
              </a:rPr>
              <a:t>支付中心</a:t>
            </a:r>
            <a:endParaRPr lang="en-US" altLang="zh-CN" sz="1200" b="1" dirty="0">
              <a:solidFill>
                <a:schemeClr val="bg1"/>
              </a:solidFill>
            </a:endParaRPr>
          </a:p>
        </p:txBody>
      </p:sp>
      <p:sp>
        <p:nvSpPr>
          <p:cNvPr id="99" name="ïṩḷíďê">
            <a:extLst>
              <a:ext uri="{FF2B5EF4-FFF2-40B4-BE49-F238E27FC236}">
                <a16:creationId xmlns:a16="http://schemas.microsoft.com/office/drawing/2014/main" id="{F08945F0-F536-444D-9A27-DF5D52A8D246}"/>
              </a:ext>
            </a:extLst>
          </p:cNvPr>
          <p:cNvSpPr/>
          <p:nvPr/>
        </p:nvSpPr>
        <p:spPr>
          <a:xfrm>
            <a:off x="6565005" y="1499612"/>
            <a:ext cx="933949" cy="265793"/>
          </a:xfrm>
          <a:prstGeom prst="rect">
            <a:avLst/>
          </a:prstGeom>
          <a:solidFill>
            <a:srgbClr val="C00000"/>
          </a:solidFill>
          <a:ln w="12700" cap="rnd">
            <a:noFill/>
            <a:prstDash val="solid"/>
            <a:round/>
            <a:headEnd/>
            <a:tailEnd/>
          </a:ln>
          <a:effectLst>
            <a:outerShdw blurRad="254000" dist="127000" algn="ctr" rotWithShape="0">
              <a:schemeClr val="tx1">
                <a:lumMod val="85000"/>
                <a:lumOff val="15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r>
              <a:rPr lang="en-US" altLang="zh-CN" sz="1200" b="1" dirty="0">
                <a:solidFill>
                  <a:schemeClr val="bg1"/>
                </a:solidFill>
                <a:latin typeface="+mj-ea"/>
                <a:ea typeface="+mj-ea"/>
              </a:rPr>
              <a:t>FSC </a:t>
            </a:r>
            <a:r>
              <a:rPr lang="zh-CN" altLang="en-US" sz="1200" b="1" dirty="0">
                <a:solidFill>
                  <a:schemeClr val="bg1"/>
                </a:solidFill>
                <a:latin typeface="+mj-ea"/>
                <a:ea typeface="+mj-ea"/>
              </a:rPr>
              <a:t>财务</a:t>
            </a:r>
            <a:endParaRPr lang="en-US" altLang="zh-CN" sz="1200" b="1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grpSp>
        <p:nvGrpSpPr>
          <p:cNvPr id="100" name="组合 59">
            <a:extLst>
              <a:ext uri="{FF2B5EF4-FFF2-40B4-BE49-F238E27FC236}">
                <a16:creationId xmlns:a16="http://schemas.microsoft.com/office/drawing/2014/main" id="{C1759C00-9C69-4E84-99AF-9E730DD6AB6C}"/>
              </a:ext>
            </a:extLst>
          </p:cNvPr>
          <p:cNvGrpSpPr/>
          <p:nvPr/>
        </p:nvGrpSpPr>
        <p:grpSpPr>
          <a:xfrm>
            <a:off x="4678639" y="1911632"/>
            <a:ext cx="1293608" cy="310168"/>
            <a:chOff x="4857551" y="1751594"/>
            <a:chExt cx="1151172" cy="310168"/>
          </a:xfrm>
        </p:grpSpPr>
        <p:sp>
          <p:nvSpPr>
            <p:cNvPr id="101" name="íslíḓè">
              <a:extLst>
                <a:ext uri="{FF2B5EF4-FFF2-40B4-BE49-F238E27FC236}">
                  <a16:creationId xmlns:a16="http://schemas.microsoft.com/office/drawing/2014/main" id="{45AE6B60-88FE-4B5E-96A7-768F13E8F745}"/>
                </a:ext>
              </a:extLst>
            </p:cNvPr>
            <p:cNvSpPr txBox="1"/>
            <p:nvPr/>
          </p:nvSpPr>
          <p:spPr>
            <a:xfrm>
              <a:off x="4890105" y="1751594"/>
              <a:ext cx="1094975" cy="2951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ja-JP" altLang="en-US" sz="1200" b="1" dirty="0">
                  <a:solidFill>
                    <a:schemeClr val="tx1">
                      <a:lumMod val="85000"/>
                      <a:lumOff val="15000"/>
                      <a:alpha val="80000"/>
                    </a:schemeClr>
                  </a:solidFill>
                  <a:latin typeface="+mj-ea"/>
                  <a:ea typeface="+mj-ea"/>
                </a:rPr>
                <a:t>①　</a:t>
              </a:r>
              <a:r>
                <a:rPr lang="zh-CN" altLang="en-US" sz="1000" b="1" dirty="0">
                  <a:solidFill>
                    <a:schemeClr val="tx1">
                      <a:lumMod val="85000"/>
                      <a:lumOff val="15000"/>
                      <a:alpha val="80000"/>
                    </a:schemeClr>
                  </a:solidFill>
                  <a:latin typeface="+mj-ea"/>
                  <a:ea typeface="+mj-ea"/>
                </a:rPr>
                <a:t>业务订单</a:t>
              </a:r>
              <a:endParaRPr lang="en-US" altLang="zh-CN" sz="1200" b="1" dirty="0">
                <a:solidFill>
                  <a:schemeClr val="tx1">
                    <a:lumMod val="85000"/>
                    <a:lumOff val="15000"/>
                    <a:alpha val="80000"/>
                  </a:schemeClr>
                </a:solidFill>
                <a:latin typeface="+mj-ea"/>
                <a:ea typeface="+mj-ea"/>
              </a:endParaRPr>
            </a:p>
          </p:txBody>
        </p:sp>
        <p:sp>
          <p:nvSpPr>
            <p:cNvPr id="102" name="矩形 61">
              <a:extLst>
                <a:ext uri="{FF2B5EF4-FFF2-40B4-BE49-F238E27FC236}">
                  <a16:creationId xmlns:a16="http://schemas.microsoft.com/office/drawing/2014/main" id="{44410B17-7521-4B62-868B-C0287E094517}"/>
                </a:ext>
              </a:extLst>
            </p:cNvPr>
            <p:cNvSpPr/>
            <p:nvPr/>
          </p:nvSpPr>
          <p:spPr>
            <a:xfrm>
              <a:off x="4857551" y="1778432"/>
              <a:ext cx="1151172" cy="283330"/>
            </a:xfrm>
            <a:prstGeom prst="rect">
              <a:avLst/>
            </a:prstGeom>
            <a:noFill/>
            <a:ln w="127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3" name="íslíḓè">
            <a:extLst>
              <a:ext uri="{FF2B5EF4-FFF2-40B4-BE49-F238E27FC236}">
                <a16:creationId xmlns:a16="http://schemas.microsoft.com/office/drawing/2014/main" id="{49A3F403-D0FA-413B-96F3-BC7ECA024AE0}"/>
              </a:ext>
            </a:extLst>
          </p:cNvPr>
          <p:cNvSpPr txBox="1"/>
          <p:nvPr/>
        </p:nvSpPr>
        <p:spPr>
          <a:xfrm>
            <a:off x="6458569" y="2492751"/>
            <a:ext cx="367916" cy="299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200" b="1" dirty="0">
                <a:solidFill>
                  <a:schemeClr val="tx1">
                    <a:lumMod val="85000"/>
                    <a:lumOff val="15000"/>
                    <a:alpha val="80000"/>
                  </a:schemeClr>
                </a:solidFill>
              </a:rPr>
              <a:t>VS</a:t>
            </a:r>
          </a:p>
        </p:txBody>
      </p:sp>
      <p:sp>
        <p:nvSpPr>
          <p:cNvPr id="104" name="矩形 63">
            <a:extLst>
              <a:ext uri="{FF2B5EF4-FFF2-40B4-BE49-F238E27FC236}">
                <a16:creationId xmlns:a16="http://schemas.microsoft.com/office/drawing/2014/main" id="{3EB924CD-BA45-455B-B666-9B3B7BD2FAAD}"/>
              </a:ext>
            </a:extLst>
          </p:cNvPr>
          <p:cNvSpPr/>
          <p:nvPr/>
        </p:nvSpPr>
        <p:spPr>
          <a:xfrm>
            <a:off x="4682871" y="2497529"/>
            <a:ext cx="1293607" cy="283330"/>
          </a:xfrm>
          <a:prstGeom prst="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íslíḓè">
            <a:extLst>
              <a:ext uri="{FF2B5EF4-FFF2-40B4-BE49-F238E27FC236}">
                <a16:creationId xmlns:a16="http://schemas.microsoft.com/office/drawing/2014/main" id="{BA111EF3-C1F2-46ED-93A8-8045D13BB171}"/>
              </a:ext>
            </a:extLst>
          </p:cNvPr>
          <p:cNvSpPr txBox="1"/>
          <p:nvPr/>
        </p:nvSpPr>
        <p:spPr>
          <a:xfrm>
            <a:off x="4710769" y="2462661"/>
            <a:ext cx="1289375" cy="295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kumimoji="0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  <a:alpha val="80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②　</a:t>
            </a:r>
            <a:r>
              <a:rPr lang="zh-CN" altLang="en-US" sz="1000" b="1" dirty="0">
                <a:solidFill>
                  <a:schemeClr val="tx1">
                    <a:lumMod val="85000"/>
                    <a:lumOff val="15000"/>
                    <a:alpha val="80000"/>
                  </a:schemeClr>
                </a:solidFill>
                <a:latin typeface="+mj-ea"/>
                <a:ea typeface="+mj-ea"/>
              </a:rPr>
              <a:t>支付中心流水</a:t>
            </a:r>
            <a:endParaRPr lang="en-US" altLang="zh-CN" sz="1000" b="1" dirty="0">
              <a:solidFill>
                <a:schemeClr val="tx1">
                  <a:lumMod val="85000"/>
                  <a:lumOff val="15000"/>
                  <a:alpha val="8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06" name="iŝḻiḓè">
            <a:extLst>
              <a:ext uri="{FF2B5EF4-FFF2-40B4-BE49-F238E27FC236}">
                <a16:creationId xmlns:a16="http://schemas.microsoft.com/office/drawing/2014/main" id="{B27B2860-8192-40B6-8A63-9B135CBB73A0}"/>
              </a:ext>
            </a:extLst>
          </p:cNvPr>
          <p:cNvSpPr/>
          <p:nvPr/>
        </p:nvSpPr>
        <p:spPr>
          <a:xfrm rot="10800000" flipH="1" flipV="1">
            <a:off x="3786926" y="2571750"/>
            <a:ext cx="753582" cy="229119"/>
          </a:xfrm>
          <a:prstGeom prst="rightArrow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0" scaled="0"/>
          </a:gra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07" name="箭头: 右弧形 78">
            <a:extLst>
              <a:ext uri="{FF2B5EF4-FFF2-40B4-BE49-F238E27FC236}">
                <a16:creationId xmlns:a16="http://schemas.microsoft.com/office/drawing/2014/main" id="{66A5F988-9CD3-4AE0-A21D-CF31A2A0992D}"/>
              </a:ext>
            </a:extLst>
          </p:cNvPr>
          <p:cNvSpPr/>
          <p:nvPr/>
        </p:nvSpPr>
        <p:spPr>
          <a:xfrm>
            <a:off x="6112099" y="2419294"/>
            <a:ext cx="284246" cy="438602"/>
          </a:xfrm>
          <a:prstGeom prst="curvedLeftArrow">
            <a:avLst/>
          </a:prstGeom>
          <a:noFill/>
          <a:ln w="12700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108" name="组合 68">
            <a:extLst>
              <a:ext uri="{FF2B5EF4-FFF2-40B4-BE49-F238E27FC236}">
                <a16:creationId xmlns:a16="http://schemas.microsoft.com/office/drawing/2014/main" id="{953C8569-6156-482C-8F6A-B35E54118661}"/>
              </a:ext>
            </a:extLst>
          </p:cNvPr>
          <p:cNvGrpSpPr/>
          <p:nvPr/>
        </p:nvGrpSpPr>
        <p:grpSpPr>
          <a:xfrm>
            <a:off x="6202887" y="3303066"/>
            <a:ext cx="1347134" cy="1230999"/>
            <a:chOff x="8133998" y="2008537"/>
            <a:chExt cx="1347134" cy="1230999"/>
          </a:xfrm>
        </p:grpSpPr>
        <p:sp>
          <p:nvSpPr>
            <p:cNvPr id="109" name="ïśḷïḓè">
              <a:extLst>
                <a:ext uri="{FF2B5EF4-FFF2-40B4-BE49-F238E27FC236}">
                  <a16:creationId xmlns:a16="http://schemas.microsoft.com/office/drawing/2014/main" id="{957CFC15-2DC5-4BF7-8A10-F37C19B81896}"/>
                </a:ext>
              </a:extLst>
            </p:cNvPr>
            <p:cNvSpPr/>
            <p:nvPr/>
          </p:nvSpPr>
          <p:spPr>
            <a:xfrm>
              <a:off x="8133998" y="2008537"/>
              <a:ext cx="1347134" cy="1230999"/>
            </a:xfrm>
            <a:prstGeom prst="rect">
              <a:avLst/>
            </a:prstGeom>
            <a:solidFill>
              <a:srgbClr val="D4ECBA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blurRad="254000" dist="127000" algn="ctr" rotWithShape="0">
                <a:schemeClr val="tx1">
                  <a:lumMod val="85000"/>
                  <a:lumOff val="1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en-US" altLang="zh-CN" sz="14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10" name="矩形 70">
              <a:extLst>
                <a:ext uri="{FF2B5EF4-FFF2-40B4-BE49-F238E27FC236}">
                  <a16:creationId xmlns:a16="http://schemas.microsoft.com/office/drawing/2014/main" id="{7B9DC898-1E0C-4ABD-A925-5277F598E7F7}"/>
                </a:ext>
              </a:extLst>
            </p:cNvPr>
            <p:cNvSpPr/>
            <p:nvPr/>
          </p:nvSpPr>
          <p:spPr>
            <a:xfrm>
              <a:off x="8236634" y="2116204"/>
              <a:ext cx="1107996" cy="101566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流水丢失差错</a:t>
              </a:r>
              <a:endParaRPr lang="en-US" altLang="zh-CN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endParaRPr lang="en-US" altLang="zh-CN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r>
                <a:rPr lang="zh-CN" alt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数据差异差错</a:t>
              </a:r>
              <a:endParaRPr lang="en-US" altLang="zh-CN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endParaRPr lang="en-US" altLang="zh-CN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r>
                <a:rPr lang="zh-CN" alt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数据修复     </a:t>
              </a:r>
            </a:p>
          </p:txBody>
        </p:sp>
      </p:grpSp>
      <p:sp>
        <p:nvSpPr>
          <p:cNvPr id="111" name="ïśḷïḓè">
            <a:extLst>
              <a:ext uri="{FF2B5EF4-FFF2-40B4-BE49-F238E27FC236}">
                <a16:creationId xmlns:a16="http://schemas.microsoft.com/office/drawing/2014/main" id="{C4B76F06-1244-469A-A6AE-844749346B80}"/>
              </a:ext>
            </a:extLst>
          </p:cNvPr>
          <p:cNvSpPr/>
          <p:nvPr/>
        </p:nvSpPr>
        <p:spPr>
          <a:xfrm>
            <a:off x="6246165" y="784402"/>
            <a:ext cx="1347134" cy="3286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rnd">
            <a:noFill/>
            <a:prstDash val="solid"/>
            <a:round/>
            <a:headEnd/>
            <a:tailEnd/>
          </a:ln>
          <a:effectLst>
            <a:outerShdw blurRad="254000" dist="127000" algn="ctr" rotWithShape="0">
              <a:schemeClr val="tx1">
                <a:lumMod val="85000"/>
                <a:lumOff val="15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r>
              <a:rPr lang="zh-CN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订单中心</a:t>
            </a:r>
            <a:endParaRPr lang="en-US" altLang="zh-CN" sz="1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2" name="文本框 1">
            <a:extLst>
              <a:ext uri="{FF2B5EF4-FFF2-40B4-BE49-F238E27FC236}">
                <a16:creationId xmlns:a16="http://schemas.microsoft.com/office/drawing/2014/main" id="{BB047331-B0AA-4091-ADDC-719C32740854}"/>
              </a:ext>
            </a:extLst>
          </p:cNvPr>
          <p:cNvSpPr txBox="1"/>
          <p:nvPr/>
        </p:nvSpPr>
        <p:spPr>
          <a:xfrm>
            <a:off x="1198709" y="2544947"/>
            <a:ext cx="219995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200" b="1" dirty="0">
                <a:latin typeface="微软雅黑" pitchFamily="34" charset="-122"/>
                <a:ea typeface="微软雅黑" pitchFamily="34" charset="-122"/>
              </a:rPr>
              <a:t>按照约定数据格式</a:t>
            </a:r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</a:rPr>
              <a:t>，</a:t>
            </a:r>
            <a:endParaRPr lang="en-US" altLang="zh-CN" sz="1200" b="1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</a:rPr>
              <a:t>将支付握手数据提供给财务系统</a:t>
            </a:r>
            <a:endParaRPr lang="zh-CN" altLang="en-US" sz="1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3" name="矩形 3">
            <a:extLst>
              <a:ext uri="{FF2B5EF4-FFF2-40B4-BE49-F238E27FC236}">
                <a16:creationId xmlns:a16="http://schemas.microsoft.com/office/drawing/2014/main" id="{01E90A8C-F7EF-4C8B-B078-7AF1A3BAE9DA}"/>
              </a:ext>
            </a:extLst>
          </p:cNvPr>
          <p:cNvSpPr/>
          <p:nvPr/>
        </p:nvSpPr>
        <p:spPr>
          <a:xfrm>
            <a:off x="4678888" y="3051322"/>
            <a:ext cx="1293607" cy="283330"/>
          </a:xfrm>
          <a:prstGeom prst="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íslíḓè">
            <a:extLst>
              <a:ext uri="{FF2B5EF4-FFF2-40B4-BE49-F238E27FC236}">
                <a16:creationId xmlns:a16="http://schemas.microsoft.com/office/drawing/2014/main" id="{E581ED48-6C17-4295-BC0D-16404BA80960}"/>
              </a:ext>
            </a:extLst>
          </p:cNvPr>
          <p:cNvSpPr txBox="1"/>
          <p:nvPr/>
        </p:nvSpPr>
        <p:spPr>
          <a:xfrm>
            <a:off x="4723713" y="3019997"/>
            <a:ext cx="1080120" cy="295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kumimoji="0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  <a:alpha val="80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③　</a:t>
            </a:r>
            <a:r>
              <a:rPr lang="zh-CN" altLang="en-US" sz="1000" b="1" dirty="0">
                <a:solidFill>
                  <a:schemeClr val="tx1">
                    <a:lumMod val="85000"/>
                    <a:lumOff val="15000"/>
                    <a:alpha val="80000"/>
                  </a:schemeClr>
                </a:solidFill>
                <a:latin typeface="+mj-ea"/>
                <a:ea typeface="+mj-ea"/>
              </a:rPr>
              <a:t>支付账单</a:t>
            </a:r>
            <a:endParaRPr lang="en-US" altLang="zh-CN" sz="1000" b="1" dirty="0">
              <a:solidFill>
                <a:schemeClr val="tx1">
                  <a:lumMod val="85000"/>
                  <a:lumOff val="15000"/>
                  <a:alpha val="80000"/>
                </a:schemeClr>
              </a:solidFill>
              <a:latin typeface="+mj-ea"/>
              <a:ea typeface="+mj-ea"/>
            </a:endParaRPr>
          </a:p>
        </p:txBody>
      </p: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38FEC9CB-C1D7-452C-966B-36E321A34C46}"/>
              </a:ext>
            </a:extLst>
          </p:cNvPr>
          <p:cNvGrpSpPr/>
          <p:nvPr/>
        </p:nvGrpSpPr>
        <p:grpSpPr>
          <a:xfrm>
            <a:off x="841335" y="3519901"/>
            <a:ext cx="1669534" cy="989883"/>
            <a:chOff x="7321979" y="2020205"/>
            <a:chExt cx="1347134" cy="1230999"/>
          </a:xfrm>
        </p:grpSpPr>
        <p:sp>
          <p:nvSpPr>
            <p:cNvPr id="30" name="ïśḷïḓè">
              <a:extLst>
                <a:ext uri="{FF2B5EF4-FFF2-40B4-BE49-F238E27FC236}">
                  <a16:creationId xmlns:a16="http://schemas.microsoft.com/office/drawing/2014/main" id="{85FD3D36-FF72-42C3-A9BF-BCEA8CDF2925}"/>
                </a:ext>
              </a:extLst>
            </p:cNvPr>
            <p:cNvSpPr/>
            <p:nvPr/>
          </p:nvSpPr>
          <p:spPr>
            <a:xfrm>
              <a:off x="7321979" y="2020205"/>
              <a:ext cx="1347134" cy="1230999"/>
            </a:xfrm>
            <a:prstGeom prst="rect">
              <a:avLst/>
            </a:prstGeom>
            <a:solidFill>
              <a:srgbClr val="D4ECBA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blurRad="254000" dist="127000" algn="ctr" rotWithShape="0">
                <a:schemeClr val="tx1">
                  <a:lumMod val="85000"/>
                  <a:lumOff val="1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en-US" altLang="zh-CN" sz="14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33A0551D-02F4-4D23-A550-DC49DABE7E0D}"/>
                </a:ext>
              </a:extLst>
            </p:cNvPr>
            <p:cNvSpPr/>
            <p:nvPr/>
          </p:nvSpPr>
          <p:spPr>
            <a:xfrm>
              <a:off x="7357963" y="2088389"/>
              <a:ext cx="1194944" cy="11482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200" b="1" dirty="0" smtClean="0">
                  <a:solidFill>
                    <a:schemeClr val="bg2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T+0 </a:t>
              </a:r>
              <a:r>
                <a:rPr lang="zh-CN" altLang="en-US" sz="1200" b="1" dirty="0" smtClean="0">
                  <a:solidFill>
                    <a:schemeClr val="bg2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退款监控</a:t>
              </a:r>
              <a:endParaRPr lang="en-US" altLang="zh-CN" sz="1200" b="1" dirty="0" smtClean="0">
                <a:solidFill>
                  <a:schemeClr val="bg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200" b="1" dirty="0" smtClean="0">
                  <a:solidFill>
                    <a:schemeClr val="bg2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自动冲销</a:t>
              </a:r>
              <a:endParaRPr lang="zh-CN" altLang="en-US" sz="1200" b="1" dirty="0">
                <a:solidFill>
                  <a:schemeClr val="bg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200" b="1" dirty="0" smtClean="0">
                  <a:solidFill>
                    <a:schemeClr val="bg2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规则配置</a:t>
              </a:r>
              <a:endParaRPr lang="en-US" altLang="zh-CN" sz="1200" b="1" dirty="0">
                <a:solidFill>
                  <a:schemeClr val="bg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639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Box 18">
            <a:extLst>
              <a:ext uri="{FF2B5EF4-FFF2-40B4-BE49-F238E27FC236}">
                <a16:creationId xmlns:a16="http://schemas.microsoft.com/office/drawing/2014/main" id="{45964E87-9848-2E4B-AAD5-BDB12290A62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4796" y="195486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 smtClean="0">
                <a:latin typeface="+mj-ea"/>
                <a:ea typeface="+mj-ea"/>
                <a:cs typeface="微软雅黑" panose="020B0503020204020204" charset="-122"/>
                <a:sym typeface="+mn-ea"/>
              </a:rPr>
              <a:t>迁移方案</a:t>
            </a:r>
            <a:endParaRPr lang="zh-CN" altLang="en-US" sz="2000" b="1" dirty="0">
              <a:latin typeface="+mj-ea"/>
              <a:ea typeface="+mj-ea"/>
              <a:cs typeface="微软雅黑" panose="020B0503020204020204" charset="-122"/>
              <a:sym typeface="+mn-ea"/>
            </a:endParaRPr>
          </a:p>
        </p:txBody>
      </p:sp>
      <p:sp>
        <p:nvSpPr>
          <p:cNvPr id="3" name="Pentagon 46">
            <a:extLst>
              <a:ext uri="{FF2B5EF4-FFF2-40B4-BE49-F238E27FC236}">
                <a16:creationId xmlns:a16="http://schemas.microsoft.com/office/drawing/2014/main" id="{A414A856-CAF3-9C45-866A-61A9565F7EF4}"/>
              </a:ext>
            </a:extLst>
          </p:cNvPr>
          <p:cNvSpPr/>
          <p:nvPr/>
        </p:nvSpPr>
        <p:spPr>
          <a:xfrm>
            <a:off x="169850" y="1050422"/>
            <a:ext cx="2961261" cy="347472"/>
          </a:xfrm>
          <a:prstGeom prst="homePlate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hevron 50">
            <a:extLst>
              <a:ext uri="{FF2B5EF4-FFF2-40B4-BE49-F238E27FC236}">
                <a16:creationId xmlns:a16="http://schemas.microsoft.com/office/drawing/2014/main" id="{68FF9B76-C4F9-964A-A2F3-68CD6C168025}"/>
              </a:ext>
            </a:extLst>
          </p:cNvPr>
          <p:cNvSpPr/>
          <p:nvPr/>
        </p:nvSpPr>
        <p:spPr>
          <a:xfrm>
            <a:off x="2987824" y="1050422"/>
            <a:ext cx="2950634" cy="347472"/>
          </a:xfrm>
          <a:prstGeom prst="chevron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Chevron 49">
            <a:extLst>
              <a:ext uri="{FF2B5EF4-FFF2-40B4-BE49-F238E27FC236}">
                <a16:creationId xmlns:a16="http://schemas.microsoft.com/office/drawing/2014/main" id="{ABD2CD81-9595-6244-9173-81E5B7CF75AC}"/>
              </a:ext>
            </a:extLst>
          </p:cNvPr>
          <p:cNvSpPr/>
          <p:nvPr/>
        </p:nvSpPr>
        <p:spPr>
          <a:xfrm>
            <a:off x="5796136" y="1050422"/>
            <a:ext cx="3254645" cy="347472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 Placeholder 34">
            <a:extLst>
              <a:ext uri="{FF2B5EF4-FFF2-40B4-BE49-F238E27FC236}">
                <a16:creationId xmlns:a16="http://schemas.microsoft.com/office/drawing/2014/main" id="{AA05E7B3-0224-684E-94C1-0DAFAEC37EDF}"/>
              </a:ext>
            </a:extLst>
          </p:cNvPr>
          <p:cNvSpPr txBox="1">
            <a:spLocks/>
          </p:cNvSpPr>
          <p:nvPr/>
        </p:nvSpPr>
        <p:spPr>
          <a:xfrm>
            <a:off x="6531665" y="1050422"/>
            <a:ext cx="1894736" cy="347472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spcBef>
                <a:spcPct val="20000"/>
              </a:spcBef>
              <a:buSzPct val="75000"/>
              <a:buFontTx/>
              <a:buNone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233363" indent="-233363" algn="l" defTabSz="457200" rtl="0" eaLnBrk="1" latinLnBrk="0" hangingPunct="1">
              <a:spcBef>
                <a:spcPct val="20000"/>
              </a:spcBef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461963" indent="-2286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228600" algn="l" defTabSz="457200" rtl="0" eaLnBrk="1" latinLnBrk="0" hangingPunct="1">
              <a:spcBef>
                <a:spcPct val="20000"/>
              </a:spcBef>
              <a:buClr>
                <a:srgbClr val="919D9D"/>
              </a:buClr>
              <a:buFont typeface="Arial" panose="020B0604020202020204" pitchFamily="34" charset="0"/>
              <a:buChar char="■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909638" indent="-21907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 dirty="0" smtClean="0">
                <a:solidFill>
                  <a:schemeClr val="bg1"/>
                </a:solidFill>
              </a:rPr>
              <a:t>全品牌支付流量切支付中心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7" name="Text Placeholder 22">
            <a:extLst>
              <a:ext uri="{FF2B5EF4-FFF2-40B4-BE49-F238E27FC236}">
                <a16:creationId xmlns:a16="http://schemas.microsoft.com/office/drawing/2014/main" id="{26564070-1E90-4047-BAE7-453649F1CACC}"/>
              </a:ext>
            </a:extLst>
          </p:cNvPr>
          <p:cNvSpPr txBox="1">
            <a:spLocks/>
          </p:cNvSpPr>
          <p:nvPr/>
        </p:nvSpPr>
        <p:spPr>
          <a:xfrm>
            <a:off x="436700" y="1050422"/>
            <a:ext cx="1365439" cy="347472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spcBef>
                <a:spcPct val="20000"/>
              </a:spcBef>
              <a:buSzPct val="75000"/>
              <a:buFontTx/>
              <a:buNone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233363" indent="-233363" algn="l" defTabSz="457200" rtl="0" eaLnBrk="1" latinLnBrk="0" hangingPunct="1">
              <a:spcBef>
                <a:spcPct val="20000"/>
              </a:spcBef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461963" indent="-2286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228600" algn="l" defTabSz="457200" rtl="0" eaLnBrk="1" latinLnBrk="0" hangingPunct="1">
              <a:spcBef>
                <a:spcPct val="20000"/>
              </a:spcBef>
              <a:buClr>
                <a:srgbClr val="919D9D"/>
              </a:buClr>
              <a:buFont typeface="Arial" panose="020B0604020202020204" pitchFamily="34" charset="0"/>
              <a:buChar char="■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909638" indent="-21907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 dirty="0" smtClean="0">
                <a:solidFill>
                  <a:schemeClr val="bg1"/>
                </a:solidFill>
              </a:rPr>
              <a:t>数据进</a:t>
            </a:r>
            <a:r>
              <a:rPr lang="en-US" altLang="zh-CN" sz="1000" dirty="0" smtClean="0">
                <a:solidFill>
                  <a:schemeClr val="bg1"/>
                </a:solidFill>
              </a:rPr>
              <a:t>TiDB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C1E30C5F-F813-EF4A-89C4-B0C161609B02}"/>
              </a:ext>
            </a:extLst>
          </p:cNvPr>
          <p:cNvSpPr txBox="1">
            <a:spLocks/>
          </p:cNvSpPr>
          <p:nvPr/>
        </p:nvSpPr>
        <p:spPr>
          <a:xfrm>
            <a:off x="953593" y="745709"/>
            <a:ext cx="2275048" cy="215444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SzPct val="75000"/>
              <a:buFontTx/>
              <a:buNone/>
              <a:defRPr sz="1800" kern="120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233363" indent="-233363" algn="l" defTabSz="457200" rtl="0" eaLnBrk="1" latinLnBrk="0" hangingPunct="1">
              <a:spcBef>
                <a:spcPct val="20000"/>
              </a:spcBef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461963" indent="-2286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228600" algn="l" defTabSz="457200" rtl="0" eaLnBrk="1" latinLnBrk="0" hangingPunct="1">
              <a:spcBef>
                <a:spcPct val="20000"/>
              </a:spcBef>
              <a:buClr>
                <a:srgbClr val="919D9D"/>
              </a:buClr>
              <a:buFont typeface="Arial" panose="020B0604020202020204" pitchFamily="34" charset="0"/>
              <a:buChar char="■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909638" indent="-21907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400" b="1" smtClean="0"/>
              <a:t>支付中心</a:t>
            </a:r>
            <a:endParaRPr lang="en-US" sz="1400" b="1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260AB458-487A-EE47-AFEE-F830F68FEA75}"/>
              </a:ext>
            </a:extLst>
          </p:cNvPr>
          <p:cNvSpPr txBox="1">
            <a:spLocks/>
          </p:cNvSpPr>
          <p:nvPr/>
        </p:nvSpPr>
        <p:spPr>
          <a:xfrm>
            <a:off x="6152606" y="699542"/>
            <a:ext cx="2111429" cy="307777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SzPct val="75000"/>
              <a:buFontTx/>
              <a:buNone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233363" indent="-233363" algn="l" defTabSz="457200" rtl="0" eaLnBrk="1" latinLnBrk="0" hangingPunct="1">
              <a:spcBef>
                <a:spcPct val="20000"/>
              </a:spcBef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461963" indent="-2286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228600" algn="l" defTabSz="457200" rtl="0" eaLnBrk="1" latinLnBrk="0" hangingPunct="1">
              <a:spcBef>
                <a:spcPct val="20000"/>
              </a:spcBef>
              <a:buClr>
                <a:srgbClr val="919D9D"/>
              </a:buClr>
              <a:buFont typeface="Arial" panose="020B0604020202020204" pitchFamily="34" charset="0"/>
              <a:buChar char="■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909638" indent="-21907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400" b="1" dirty="0" smtClean="0"/>
              <a:t>支付中心后续</a:t>
            </a:r>
            <a:endParaRPr lang="en-US" sz="1400" b="1" dirty="0"/>
          </a:p>
        </p:txBody>
      </p:sp>
      <p:sp>
        <p:nvSpPr>
          <p:cNvPr id="10" name="Text Placeholder 41">
            <a:extLst>
              <a:ext uri="{FF2B5EF4-FFF2-40B4-BE49-F238E27FC236}">
                <a16:creationId xmlns:a16="http://schemas.microsoft.com/office/drawing/2014/main" id="{D9D48BA5-7691-704E-B7B0-F81FE76EDB4E}"/>
              </a:ext>
            </a:extLst>
          </p:cNvPr>
          <p:cNvSpPr txBox="1">
            <a:spLocks/>
          </p:cNvSpPr>
          <p:nvPr/>
        </p:nvSpPr>
        <p:spPr>
          <a:xfrm>
            <a:off x="400038" y="1493471"/>
            <a:ext cx="2257731" cy="62841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spcBef>
                <a:spcPct val="20000"/>
              </a:spcBef>
              <a:buSzPct val="75000"/>
              <a:buFontTx/>
              <a:buNone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233363" indent="-233363" algn="l" defTabSz="457200" rtl="0" eaLnBrk="1" latinLnBrk="0" hangingPunct="1">
              <a:spcBef>
                <a:spcPct val="20000"/>
              </a:spcBef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461963" indent="-2286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228600" algn="l" defTabSz="457200" rtl="0" eaLnBrk="1" latinLnBrk="0" hangingPunct="1">
              <a:spcBef>
                <a:spcPct val="20000"/>
              </a:spcBef>
              <a:buClr>
                <a:srgbClr val="919D9D"/>
              </a:buClr>
              <a:buFont typeface="Arial" panose="020B0604020202020204" pitchFamily="34" charset="0"/>
              <a:buChar char="■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909638" indent="-21907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3363" indent="-233363"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</a:pPr>
            <a:r>
              <a:rPr lang="zh-CN" altLang="en-US" sz="1000" dirty="0" smtClean="0"/>
              <a:t>支付中心完成模型改造</a:t>
            </a:r>
            <a:endParaRPr lang="en-US" altLang="zh-CN" sz="1000" dirty="0" smtClean="0"/>
          </a:p>
          <a:p>
            <a:pPr marL="233363" indent="-233363"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</a:pPr>
            <a:r>
              <a:rPr lang="zh-CN" altLang="en-US" sz="1000" dirty="0"/>
              <a:t>小品</a:t>
            </a:r>
            <a:r>
              <a:rPr lang="zh-CN" altLang="en-US" sz="1000" dirty="0" smtClean="0"/>
              <a:t>牌接入支付中心</a:t>
            </a:r>
            <a:endParaRPr lang="en-US" altLang="zh-CN" sz="1000" dirty="0" smtClean="0"/>
          </a:p>
          <a:p>
            <a:pPr marL="233363" indent="-233363"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</a:pPr>
            <a:r>
              <a:rPr lang="en-US" altLang="zh-CN" sz="1000" dirty="0" smtClean="0"/>
              <a:t>ECPAY</a:t>
            </a:r>
            <a:r>
              <a:rPr lang="zh-CN" altLang="en-US" sz="1000" dirty="0" smtClean="0"/>
              <a:t>订单数据切入支付中心</a:t>
            </a:r>
            <a:endParaRPr lang="en-US" sz="1000" dirty="0"/>
          </a:p>
        </p:txBody>
      </p:sp>
      <p:sp>
        <p:nvSpPr>
          <p:cNvPr id="11" name="Text Placeholder 42">
            <a:extLst>
              <a:ext uri="{FF2B5EF4-FFF2-40B4-BE49-F238E27FC236}">
                <a16:creationId xmlns:a16="http://schemas.microsoft.com/office/drawing/2014/main" id="{D8A9155B-A4A3-FD44-A703-967C0F371A10}"/>
              </a:ext>
            </a:extLst>
          </p:cNvPr>
          <p:cNvSpPr txBox="1">
            <a:spLocks/>
          </p:cNvSpPr>
          <p:nvPr/>
        </p:nvSpPr>
        <p:spPr>
          <a:xfrm>
            <a:off x="3131111" y="1539142"/>
            <a:ext cx="2561343" cy="58274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spcBef>
                <a:spcPct val="20000"/>
              </a:spcBef>
              <a:buSzPct val="75000"/>
              <a:buFontTx/>
              <a:buNone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233363" indent="-233363" algn="l" defTabSz="457200" rtl="0" eaLnBrk="1" latinLnBrk="0" hangingPunct="1">
              <a:spcBef>
                <a:spcPct val="20000"/>
              </a:spcBef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461963" indent="-2286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228600" algn="l" defTabSz="457200" rtl="0" eaLnBrk="1" latinLnBrk="0" hangingPunct="1">
              <a:spcBef>
                <a:spcPct val="20000"/>
              </a:spcBef>
              <a:buClr>
                <a:srgbClr val="919D9D"/>
              </a:buClr>
              <a:buFont typeface="Arial" panose="020B0604020202020204" pitchFamily="34" charset="0"/>
              <a:buChar char="■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909638" indent="-21907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3363" indent="-233363"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</a:pPr>
            <a:r>
              <a:rPr lang="zh-CN" altLang="en-US" sz="1000" dirty="0" smtClean="0"/>
              <a:t>退款流量全部接入支付中心</a:t>
            </a:r>
            <a:endParaRPr lang="en-US" altLang="zh-CN" sz="1000" dirty="0" smtClean="0"/>
          </a:p>
          <a:p>
            <a:pPr marL="233363" indent="-233363"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</a:pPr>
            <a:r>
              <a:rPr lang="zh-CN" altLang="en-US" sz="1000" dirty="0" smtClean="0"/>
              <a:t>支付中心为</a:t>
            </a:r>
            <a:r>
              <a:rPr lang="zh-CN" altLang="en-US" sz="1000" dirty="0"/>
              <a:t>财务系</a:t>
            </a:r>
            <a:r>
              <a:rPr lang="zh-CN" altLang="en-US" sz="1000" dirty="0" smtClean="0"/>
              <a:t>统供数</a:t>
            </a:r>
            <a:endParaRPr lang="en-US" sz="1000" dirty="0" smtClean="0"/>
          </a:p>
        </p:txBody>
      </p:sp>
      <p:sp>
        <p:nvSpPr>
          <p:cNvPr id="12" name="Text Placeholder 45">
            <a:extLst>
              <a:ext uri="{FF2B5EF4-FFF2-40B4-BE49-F238E27FC236}">
                <a16:creationId xmlns:a16="http://schemas.microsoft.com/office/drawing/2014/main" id="{A54BEE36-BEB2-3848-AC50-D1B76A4866C3}"/>
              </a:ext>
            </a:extLst>
          </p:cNvPr>
          <p:cNvSpPr txBox="1">
            <a:spLocks/>
          </p:cNvSpPr>
          <p:nvPr/>
        </p:nvSpPr>
        <p:spPr>
          <a:xfrm>
            <a:off x="6014421" y="1539143"/>
            <a:ext cx="2570313" cy="58274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spcBef>
                <a:spcPct val="20000"/>
              </a:spcBef>
              <a:buSzPct val="75000"/>
              <a:buFontTx/>
              <a:buNone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233363" indent="-233363" algn="l" defTabSz="457200" rtl="0" eaLnBrk="1" latinLnBrk="0" hangingPunct="1">
              <a:spcBef>
                <a:spcPct val="20000"/>
              </a:spcBef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461963" indent="-2286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228600" algn="l" defTabSz="457200" rtl="0" eaLnBrk="1" latinLnBrk="0" hangingPunct="1">
              <a:spcBef>
                <a:spcPct val="20000"/>
              </a:spcBef>
              <a:buClr>
                <a:srgbClr val="919D9D"/>
              </a:buClr>
              <a:buFont typeface="Arial" panose="020B0604020202020204" pitchFamily="34" charset="0"/>
              <a:buChar char="■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909638" indent="-21907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3363" indent="-233363"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</a:pPr>
            <a:r>
              <a:rPr lang="zh-CN" altLang="en-US" sz="1000" dirty="0" smtClean="0"/>
              <a:t>全</a:t>
            </a:r>
            <a:r>
              <a:rPr lang="zh-CN" altLang="en-US" sz="1000" dirty="0"/>
              <a:t>品</a:t>
            </a:r>
            <a:r>
              <a:rPr lang="zh-CN" altLang="en-US" sz="1000" dirty="0" smtClean="0"/>
              <a:t>牌支付接入支付中心</a:t>
            </a:r>
            <a:endParaRPr lang="en-US" altLang="zh-CN" sz="1000" dirty="0" smtClean="0"/>
          </a:p>
          <a:p>
            <a:pPr marL="233363" indent="-233363"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</a:pPr>
            <a:r>
              <a:rPr lang="zh-CN" altLang="en-US" sz="1000" dirty="0"/>
              <a:t>下</a:t>
            </a:r>
            <a:r>
              <a:rPr lang="zh-CN" altLang="en-US" sz="1000" dirty="0" smtClean="0"/>
              <a:t>线</a:t>
            </a:r>
            <a:r>
              <a:rPr lang="en-US" altLang="zh-CN" sz="1000" dirty="0" smtClean="0"/>
              <a:t>ECPAY</a:t>
            </a:r>
            <a:r>
              <a:rPr lang="zh-CN" altLang="en-US" sz="1000" dirty="0" smtClean="0"/>
              <a:t>和</a:t>
            </a:r>
            <a:r>
              <a:rPr lang="en-US" altLang="zh-CN" sz="1000" dirty="0" smtClean="0"/>
              <a:t>BC</a:t>
            </a:r>
            <a:endParaRPr lang="en-US" sz="1000" dirty="0"/>
          </a:p>
        </p:txBody>
      </p:sp>
      <p:cxnSp>
        <p:nvCxnSpPr>
          <p:cNvPr id="13" name="Straight Connector 82">
            <a:extLst>
              <a:ext uri="{FF2B5EF4-FFF2-40B4-BE49-F238E27FC236}">
                <a16:creationId xmlns:a16="http://schemas.microsoft.com/office/drawing/2014/main" id="{BB0EE70B-7D96-604E-895A-2DA56D26A6A2}"/>
              </a:ext>
            </a:extLst>
          </p:cNvPr>
          <p:cNvCxnSpPr/>
          <p:nvPr/>
        </p:nvCxnSpPr>
        <p:spPr>
          <a:xfrm>
            <a:off x="2987824" y="1440797"/>
            <a:ext cx="0" cy="3517088"/>
          </a:xfrm>
          <a:prstGeom prst="line">
            <a:avLst/>
          </a:prstGeom>
          <a:ln w="6350">
            <a:solidFill>
              <a:srgbClr val="919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84">
            <a:extLst>
              <a:ext uri="{FF2B5EF4-FFF2-40B4-BE49-F238E27FC236}">
                <a16:creationId xmlns:a16="http://schemas.microsoft.com/office/drawing/2014/main" id="{4CC08033-E72F-0C47-BE4C-1A8226927C84}"/>
              </a:ext>
            </a:extLst>
          </p:cNvPr>
          <p:cNvCxnSpPr/>
          <p:nvPr/>
        </p:nvCxnSpPr>
        <p:spPr>
          <a:xfrm>
            <a:off x="5796136" y="1440797"/>
            <a:ext cx="0" cy="3517088"/>
          </a:xfrm>
          <a:prstGeom prst="line">
            <a:avLst/>
          </a:prstGeom>
          <a:ln w="6350">
            <a:solidFill>
              <a:srgbClr val="919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26564070-1E90-4047-BAE7-453649F1CACC}"/>
              </a:ext>
            </a:extLst>
          </p:cNvPr>
          <p:cNvSpPr txBox="1">
            <a:spLocks/>
          </p:cNvSpPr>
          <p:nvPr/>
        </p:nvSpPr>
        <p:spPr>
          <a:xfrm>
            <a:off x="3287468" y="1050422"/>
            <a:ext cx="1890582" cy="347472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457200" rtl="0" eaLnBrk="1" latinLnBrk="0" hangingPunct="1">
              <a:spcBef>
                <a:spcPct val="20000"/>
              </a:spcBef>
              <a:buSzPct val="75000"/>
              <a:buFontTx/>
              <a:buNone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233363" indent="-233363" algn="l" defTabSz="457200" rtl="0" eaLnBrk="1" latinLnBrk="0" hangingPunct="1">
              <a:spcBef>
                <a:spcPct val="20000"/>
              </a:spcBef>
              <a:buClr>
                <a:srgbClr val="DA291C"/>
              </a:buClr>
              <a:buSzPct val="80000"/>
              <a:buFont typeface="Wingdings" panose="05000000000000000000" pitchFamily="2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461963" indent="-2286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228600" algn="l" defTabSz="457200" rtl="0" eaLnBrk="1" latinLnBrk="0" hangingPunct="1">
              <a:spcBef>
                <a:spcPct val="20000"/>
              </a:spcBef>
              <a:buClr>
                <a:srgbClr val="919D9D"/>
              </a:buClr>
              <a:buFont typeface="Arial" panose="020B0604020202020204" pitchFamily="34" charset="0"/>
              <a:buChar char="■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909638" indent="-21907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 dirty="0" smtClean="0">
                <a:solidFill>
                  <a:schemeClr val="bg1"/>
                </a:solidFill>
              </a:rPr>
              <a:t>退款流量切支付中心</a:t>
            </a:r>
            <a:endParaRPr lang="en-US" sz="1000" dirty="0">
              <a:solidFill>
                <a:schemeClr val="bg1"/>
              </a:solidFill>
            </a:endParaRPr>
          </a:p>
        </p:txBody>
      </p:sp>
      <p:cxnSp>
        <p:nvCxnSpPr>
          <p:cNvPr id="16" name="Straight Connector 82">
            <a:extLst>
              <a:ext uri="{FF2B5EF4-FFF2-40B4-BE49-F238E27FC236}">
                <a16:creationId xmlns:a16="http://schemas.microsoft.com/office/drawing/2014/main" id="{BB0EE70B-7D96-604E-895A-2DA56D26A6A2}"/>
              </a:ext>
            </a:extLst>
          </p:cNvPr>
          <p:cNvCxnSpPr/>
          <p:nvPr/>
        </p:nvCxnSpPr>
        <p:spPr>
          <a:xfrm>
            <a:off x="5806756" y="732116"/>
            <a:ext cx="0" cy="229037"/>
          </a:xfrm>
          <a:prstGeom prst="line">
            <a:avLst/>
          </a:prstGeom>
          <a:ln w="6350">
            <a:solidFill>
              <a:srgbClr val="919D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2" name="组合 71"/>
          <p:cNvGrpSpPr/>
          <p:nvPr/>
        </p:nvGrpSpPr>
        <p:grpSpPr>
          <a:xfrm>
            <a:off x="245362" y="2452213"/>
            <a:ext cx="2529080" cy="2386135"/>
            <a:chOff x="137973" y="2571750"/>
            <a:chExt cx="2781987" cy="2386135"/>
          </a:xfrm>
        </p:grpSpPr>
        <p:sp>
          <p:nvSpPr>
            <p:cNvPr id="17" name="圆角矩形 16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1980570" y="2507556"/>
              <a:ext cx="297521" cy="617115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FC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8" name="圆角矩形 17">
              <a:extLst>
                <a:ext uri="{FF2B5EF4-FFF2-40B4-BE49-F238E27FC236}">
                  <a16:creationId xmlns:a16="http://schemas.microsoft.com/office/drawing/2014/main" id="{B1B2561D-196E-AE40-846B-2EBA7559DDEA}"/>
                </a:ext>
              </a:extLst>
            </p:cNvPr>
            <p:cNvSpPr/>
            <p:nvPr/>
          </p:nvSpPr>
          <p:spPr>
            <a:xfrm rot="16200000">
              <a:off x="409292" y="3719408"/>
              <a:ext cx="313407" cy="856045"/>
            </a:xfrm>
            <a:prstGeom prst="roundRect">
              <a:avLst>
                <a:gd name="adj" fmla="val 8635"/>
              </a:avLst>
            </a:prstGeom>
            <a:solidFill>
              <a:srgbClr val="C000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1000" kern="0" dirty="0" smtClean="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支付中心</a:t>
              </a:r>
              <a:endParaRPr lang="en-US" altLang="zh-CN" sz="1000" kern="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9" name="圆角矩形 18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1295247" y="2522842"/>
              <a:ext cx="297521" cy="586540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H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0" name="圆角矩形 19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605233" y="3157734"/>
              <a:ext cx="297521" cy="656289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OCC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1" name="圆角矩形 20">
              <a:extLst>
                <a:ext uri="{FF2B5EF4-FFF2-40B4-BE49-F238E27FC236}">
                  <a16:creationId xmlns:a16="http://schemas.microsoft.com/office/drawing/2014/main" id="{B1B2561D-196E-AE40-846B-2EBA7559DDEA}"/>
                </a:ext>
              </a:extLst>
            </p:cNvPr>
            <p:cNvSpPr/>
            <p:nvPr/>
          </p:nvSpPr>
          <p:spPr>
            <a:xfrm rot="16200000">
              <a:off x="1800858" y="3717668"/>
              <a:ext cx="344005" cy="856045"/>
            </a:xfrm>
            <a:prstGeom prst="roundRect">
              <a:avLst>
                <a:gd name="adj" fmla="val 8635"/>
              </a:avLst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BC/EC-pay</a:t>
              </a:r>
              <a:endParaRPr lang="zh-CN" altLang="en-US" sz="8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" name="圆柱形 1"/>
            <p:cNvSpPr/>
            <p:nvPr/>
          </p:nvSpPr>
          <p:spPr>
            <a:xfrm>
              <a:off x="187502" y="4659982"/>
              <a:ext cx="705923" cy="297903"/>
            </a:xfrm>
            <a:prstGeom prst="can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425848" y="4792037"/>
              <a:ext cx="229230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800" dirty="0" smtClean="0">
                  <a:latin typeface="微软雅黑" pitchFamily="34" charset="-122"/>
                  <a:ea typeface="微软雅黑" pitchFamily="34" charset="-122"/>
                </a:rPr>
                <a:t>TiDB</a:t>
              </a:r>
              <a:endParaRPr lang="zh-CN" altLang="en-US" sz="8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4" name="圆柱形 23"/>
            <p:cNvSpPr/>
            <p:nvPr/>
          </p:nvSpPr>
          <p:spPr>
            <a:xfrm>
              <a:off x="1637864" y="4659982"/>
              <a:ext cx="705923" cy="297903"/>
            </a:xfrm>
            <a:prstGeom prst="can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1737277" y="4772825"/>
              <a:ext cx="458459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800" dirty="0" err="1" smtClean="0">
                  <a:latin typeface="微软雅黑" pitchFamily="34" charset="-122"/>
                  <a:ea typeface="微软雅黑" pitchFamily="34" charset="-122"/>
                </a:rPr>
                <a:t>SqlServer</a:t>
              </a:r>
              <a:endParaRPr lang="zh-CN" altLang="en-US" sz="8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9" name="矩形 28"/>
            <p:cNvSpPr/>
            <p:nvPr/>
          </p:nvSpPr>
          <p:spPr>
            <a:xfrm>
              <a:off x="1036300" y="2571750"/>
              <a:ext cx="1519476" cy="504056"/>
            </a:xfrm>
            <a:prstGeom prst="rect">
              <a:avLst/>
            </a:prstGeom>
            <a:noFill/>
            <a:ln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31" name="直接箭头连接符 30"/>
            <p:cNvCxnSpPr/>
            <p:nvPr/>
          </p:nvCxnSpPr>
          <p:spPr>
            <a:xfrm>
              <a:off x="1997616" y="3075806"/>
              <a:ext cx="0" cy="840949"/>
            </a:xfrm>
            <a:prstGeom prst="straightConnector1">
              <a:avLst/>
            </a:prstGeom>
            <a:ln>
              <a:solidFill>
                <a:schemeClr val="accent5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箭头连接符 32"/>
            <p:cNvCxnSpPr/>
            <p:nvPr/>
          </p:nvCxnSpPr>
          <p:spPr>
            <a:xfrm>
              <a:off x="1992057" y="4383074"/>
              <a:ext cx="1" cy="260012"/>
            </a:xfrm>
            <a:prstGeom prst="straightConnector1">
              <a:avLst/>
            </a:prstGeom>
            <a:ln>
              <a:solidFill>
                <a:srgbClr val="00B050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直接箭头连接符 36"/>
            <p:cNvCxnSpPr>
              <a:endCxn id="20" idx="2"/>
            </p:cNvCxnSpPr>
            <p:nvPr/>
          </p:nvCxnSpPr>
          <p:spPr>
            <a:xfrm rot="5400000">
              <a:off x="1068940" y="3114106"/>
              <a:ext cx="384971" cy="358572"/>
            </a:xfrm>
            <a:prstGeom prst="bentConnector2">
              <a:avLst/>
            </a:prstGeom>
            <a:ln>
              <a:prstDash val="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箭头连接符 38"/>
            <p:cNvCxnSpPr>
              <a:stCxn id="21" idx="0"/>
              <a:endCxn id="18" idx="2"/>
            </p:cNvCxnSpPr>
            <p:nvPr/>
          </p:nvCxnSpPr>
          <p:spPr>
            <a:xfrm flipH="1">
              <a:off x="994018" y="4145690"/>
              <a:ext cx="550820" cy="1740"/>
            </a:xfrm>
            <a:prstGeom prst="straightConnector1">
              <a:avLst/>
            </a:prstGeom>
            <a:ln>
              <a:solidFill>
                <a:srgbClr val="00B050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40" name="文本框 39"/>
            <p:cNvSpPr txBox="1"/>
            <p:nvPr/>
          </p:nvSpPr>
          <p:spPr>
            <a:xfrm>
              <a:off x="1133225" y="4175855"/>
              <a:ext cx="41036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800" dirty="0" smtClean="0">
                  <a:latin typeface="微软雅黑" pitchFamily="34" charset="-122"/>
                  <a:ea typeface="微软雅黑" pitchFamily="34" charset="-122"/>
                </a:rPr>
                <a:t>支付订单</a:t>
              </a:r>
              <a:endParaRPr lang="en-US" altLang="zh-CN" sz="8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800" dirty="0" smtClean="0">
                  <a:latin typeface="微软雅黑" pitchFamily="34" charset="-122"/>
                  <a:ea typeface="微软雅黑" pitchFamily="34" charset="-122"/>
                </a:rPr>
                <a:t>同步</a:t>
              </a:r>
            </a:p>
          </p:txBody>
        </p:sp>
        <p:cxnSp>
          <p:nvCxnSpPr>
            <p:cNvPr id="42" name="直接箭头连接符 36"/>
            <p:cNvCxnSpPr/>
            <p:nvPr/>
          </p:nvCxnSpPr>
          <p:spPr>
            <a:xfrm>
              <a:off x="1058650" y="3634640"/>
              <a:ext cx="470253" cy="288261"/>
            </a:xfrm>
            <a:prstGeom prst="straightConnector1">
              <a:avLst/>
            </a:prstGeom>
            <a:ln>
              <a:prstDash val="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文本框 50"/>
            <p:cNvSpPr txBox="1"/>
            <p:nvPr/>
          </p:nvSpPr>
          <p:spPr>
            <a:xfrm rot="1714423">
              <a:off x="1246407" y="3666641"/>
              <a:ext cx="375103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800" dirty="0" smtClean="0">
                  <a:latin typeface="微软雅黑" pitchFamily="34" charset="-122"/>
                  <a:ea typeface="微软雅黑" pitchFamily="34" charset="-122"/>
                </a:rPr>
                <a:t>PH/KFC</a:t>
              </a:r>
              <a:endParaRPr lang="zh-CN" altLang="en-US" sz="8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2" name="圆角矩形 51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421969" y="2459412"/>
              <a:ext cx="297521" cy="684155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AAS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cxnSp>
          <p:nvCxnSpPr>
            <p:cNvPr id="61" name="直接箭头连接符 60"/>
            <p:cNvCxnSpPr/>
            <p:nvPr/>
          </p:nvCxnSpPr>
          <p:spPr>
            <a:xfrm>
              <a:off x="290050" y="3003798"/>
              <a:ext cx="1632" cy="961391"/>
            </a:xfrm>
            <a:prstGeom prst="straightConnector1">
              <a:avLst/>
            </a:prstGeom>
            <a:ln>
              <a:solidFill>
                <a:schemeClr val="accent5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接箭头连接符 61"/>
            <p:cNvCxnSpPr/>
            <p:nvPr/>
          </p:nvCxnSpPr>
          <p:spPr>
            <a:xfrm>
              <a:off x="497466" y="4359916"/>
              <a:ext cx="1632" cy="306328"/>
            </a:xfrm>
            <a:prstGeom prst="straightConnector1">
              <a:avLst/>
            </a:prstGeom>
            <a:ln>
              <a:solidFill>
                <a:srgbClr val="00B050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63" name="圆角矩形 62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2527912" y="3460980"/>
              <a:ext cx="297521" cy="486574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FSC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cxnSp>
          <p:nvCxnSpPr>
            <p:cNvPr id="65" name="直接箭头连接符 64"/>
            <p:cNvCxnSpPr>
              <a:stCxn id="63" idx="1"/>
              <a:endCxn id="21" idx="2"/>
            </p:cNvCxnSpPr>
            <p:nvPr/>
          </p:nvCxnSpPr>
          <p:spPr>
            <a:xfrm rot="5400000">
              <a:off x="2392447" y="3861464"/>
              <a:ext cx="292662" cy="275790"/>
            </a:xfrm>
            <a:prstGeom prst="bentConnector2">
              <a:avLst/>
            </a:prstGeom>
            <a:ln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接箭头连接符 36"/>
            <p:cNvCxnSpPr/>
            <p:nvPr/>
          </p:nvCxnSpPr>
          <p:spPr>
            <a:xfrm flipH="1">
              <a:off x="683400" y="3018076"/>
              <a:ext cx="14297" cy="309210"/>
            </a:xfrm>
            <a:prstGeom prst="straightConnector1">
              <a:avLst/>
            </a:prstGeom>
            <a:ln>
              <a:prstDash val="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直接箭头连接符 36"/>
            <p:cNvCxnSpPr/>
            <p:nvPr/>
          </p:nvCxnSpPr>
          <p:spPr>
            <a:xfrm flipH="1">
              <a:off x="653449" y="3673225"/>
              <a:ext cx="14297" cy="309210"/>
            </a:xfrm>
            <a:prstGeom prst="straightConnector1">
              <a:avLst/>
            </a:prstGeom>
            <a:ln>
              <a:prstDash val="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文本框 70"/>
            <p:cNvSpPr txBox="1"/>
            <p:nvPr/>
          </p:nvSpPr>
          <p:spPr>
            <a:xfrm rot="372501">
              <a:off x="559101" y="3730248"/>
              <a:ext cx="262892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800" dirty="0" smtClean="0">
                  <a:latin typeface="微软雅黑" pitchFamily="34" charset="-122"/>
                  <a:ea typeface="微软雅黑" pitchFamily="34" charset="-122"/>
                </a:rPr>
                <a:t>SAAS</a:t>
              </a:r>
              <a:endParaRPr lang="zh-CN" altLang="en-US" sz="8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02" name="组合 101"/>
          <p:cNvGrpSpPr/>
          <p:nvPr/>
        </p:nvGrpSpPr>
        <p:grpSpPr>
          <a:xfrm>
            <a:off x="3081301" y="2452213"/>
            <a:ext cx="2642827" cy="2386135"/>
            <a:chOff x="2767621" y="2652729"/>
            <a:chExt cx="2907110" cy="2386135"/>
          </a:xfrm>
        </p:grpSpPr>
        <p:sp>
          <p:nvSpPr>
            <p:cNvPr id="74" name="圆角矩形 73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5099525" y="2588535"/>
              <a:ext cx="297521" cy="617115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FC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5" name="圆角矩形 74">
              <a:extLst>
                <a:ext uri="{FF2B5EF4-FFF2-40B4-BE49-F238E27FC236}">
                  <a16:creationId xmlns:a16="http://schemas.microsoft.com/office/drawing/2014/main" id="{B1B2561D-196E-AE40-846B-2EBA7559DDEA}"/>
                </a:ext>
              </a:extLst>
            </p:cNvPr>
            <p:cNvSpPr/>
            <p:nvPr/>
          </p:nvSpPr>
          <p:spPr>
            <a:xfrm rot="16200000">
              <a:off x="3528247" y="3800387"/>
              <a:ext cx="313407" cy="856045"/>
            </a:xfrm>
            <a:prstGeom prst="roundRect">
              <a:avLst>
                <a:gd name="adj" fmla="val 8635"/>
              </a:avLst>
            </a:prstGeom>
            <a:solidFill>
              <a:srgbClr val="C000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1000" kern="0" dirty="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支付中心</a:t>
              </a:r>
              <a:endPara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6" name="圆角矩形 75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4414202" y="2603821"/>
              <a:ext cx="297521" cy="586540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H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7" name="圆角矩形 76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3833278" y="3179441"/>
              <a:ext cx="297521" cy="774833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OCC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8" name="圆角矩形 77">
              <a:extLst>
                <a:ext uri="{FF2B5EF4-FFF2-40B4-BE49-F238E27FC236}">
                  <a16:creationId xmlns:a16="http://schemas.microsoft.com/office/drawing/2014/main" id="{B1B2561D-196E-AE40-846B-2EBA7559DDEA}"/>
                </a:ext>
              </a:extLst>
            </p:cNvPr>
            <p:cNvSpPr/>
            <p:nvPr/>
          </p:nvSpPr>
          <p:spPr>
            <a:xfrm rot="16200000">
              <a:off x="4919813" y="3798647"/>
              <a:ext cx="344005" cy="856045"/>
            </a:xfrm>
            <a:prstGeom prst="roundRect">
              <a:avLst>
                <a:gd name="adj" fmla="val 8635"/>
              </a:avLst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BC/EC-pay</a:t>
              </a:r>
              <a:endParaRPr lang="zh-CN" altLang="en-US" sz="8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9" name="圆柱形 78"/>
            <p:cNvSpPr/>
            <p:nvPr/>
          </p:nvSpPr>
          <p:spPr>
            <a:xfrm>
              <a:off x="3306457" y="4740961"/>
              <a:ext cx="705923" cy="297903"/>
            </a:xfrm>
            <a:prstGeom prst="can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0" name="文本框 79"/>
            <p:cNvSpPr txBox="1"/>
            <p:nvPr/>
          </p:nvSpPr>
          <p:spPr>
            <a:xfrm>
              <a:off x="3544803" y="4873016"/>
              <a:ext cx="229230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800" dirty="0" smtClean="0">
                  <a:latin typeface="微软雅黑" pitchFamily="34" charset="-122"/>
                  <a:ea typeface="微软雅黑" pitchFamily="34" charset="-122"/>
                </a:rPr>
                <a:t>TiDB</a:t>
              </a:r>
              <a:endParaRPr lang="zh-CN" altLang="en-US" sz="8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1" name="圆柱形 80"/>
            <p:cNvSpPr/>
            <p:nvPr/>
          </p:nvSpPr>
          <p:spPr>
            <a:xfrm>
              <a:off x="4756819" y="4740961"/>
              <a:ext cx="705923" cy="297903"/>
            </a:xfrm>
            <a:prstGeom prst="can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2" name="文本框 81"/>
            <p:cNvSpPr txBox="1"/>
            <p:nvPr/>
          </p:nvSpPr>
          <p:spPr>
            <a:xfrm>
              <a:off x="4856232" y="4853804"/>
              <a:ext cx="458459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800" dirty="0" err="1" smtClean="0">
                  <a:latin typeface="微软雅黑" pitchFamily="34" charset="-122"/>
                  <a:ea typeface="微软雅黑" pitchFamily="34" charset="-122"/>
                </a:rPr>
                <a:t>SqlServer</a:t>
              </a:r>
              <a:endParaRPr lang="zh-CN" altLang="en-US" sz="8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3" name="矩形 82"/>
            <p:cNvSpPr/>
            <p:nvPr/>
          </p:nvSpPr>
          <p:spPr>
            <a:xfrm>
              <a:off x="4155255" y="2652729"/>
              <a:ext cx="1519476" cy="504056"/>
            </a:xfrm>
            <a:prstGeom prst="rect">
              <a:avLst/>
            </a:prstGeom>
            <a:noFill/>
            <a:ln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84" name="直接箭头连接符 83"/>
            <p:cNvCxnSpPr/>
            <p:nvPr/>
          </p:nvCxnSpPr>
          <p:spPr>
            <a:xfrm>
              <a:off x="5116571" y="3156785"/>
              <a:ext cx="0" cy="840949"/>
            </a:xfrm>
            <a:prstGeom prst="straightConnector1">
              <a:avLst/>
            </a:prstGeom>
            <a:ln>
              <a:solidFill>
                <a:schemeClr val="accent5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直接箭头连接符 84"/>
            <p:cNvCxnSpPr/>
            <p:nvPr/>
          </p:nvCxnSpPr>
          <p:spPr>
            <a:xfrm>
              <a:off x="5111012" y="4464053"/>
              <a:ext cx="1" cy="260012"/>
            </a:xfrm>
            <a:prstGeom prst="straightConnector1">
              <a:avLst/>
            </a:prstGeom>
            <a:ln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直接箭头连接符 36"/>
            <p:cNvCxnSpPr>
              <a:endCxn id="77" idx="2"/>
            </p:cNvCxnSpPr>
            <p:nvPr/>
          </p:nvCxnSpPr>
          <p:spPr>
            <a:xfrm rot="5400000">
              <a:off x="4272074" y="3279267"/>
              <a:ext cx="384972" cy="190210"/>
            </a:xfrm>
            <a:prstGeom prst="bentConnector2">
              <a:avLst/>
            </a:prstGeom>
            <a:ln>
              <a:prstDash val="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直接箭头连接符 86"/>
            <p:cNvCxnSpPr>
              <a:stCxn id="78" idx="0"/>
              <a:endCxn id="75" idx="2"/>
            </p:cNvCxnSpPr>
            <p:nvPr/>
          </p:nvCxnSpPr>
          <p:spPr>
            <a:xfrm flipH="1">
              <a:off x="4112973" y="4226669"/>
              <a:ext cx="550820" cy="1740"/>
            </a:xfrm>
            <a:prstGeom prst="straightConnector1">
              <a:avLst/>
            </a:prstGeom>
            <a:ln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文本框 87"/>
            <p:cNvSpPr txBox="1"/>
            <p:nvPr/>
          </p:nvSpPr>
          <p:spPr>
            <a:xfrm>
              <a:off x="4252180" y="4256834"/>
              <a:ext cx="41036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800" dirty="0" smtClean="0">
                  <a:latin typeface="微软雅黑" pitchFamily="34" charset="-122"/>
                  <a:ea typeface="微软雅黑" pitchFamily="34" charset="-122"/>
                </a:rPr>
                <a:t>支付订单</a:t>
              </a:r>
              <a:endParaRPr lang="en-US" altLang="zh-CN" sz="8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800" dirty="0" smtClean="0">
                  <a:latin typeface="微软雅黑" pitchFamily="34" charset="-122"/>
                  <a:ea typeface="微软雅黑" pitchFamily="34" charset="-122"/>
                </a:rPr>
                <a:t>同步</a:t>
              </a:r>
            </a:p>
          </p:txBody>
        </p:sp>
        <p:sp>
          <p:nvSpPr>
            <p:cNvPr id="91" name="圆角矩形 90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3540924" y="2540391"/>
              <a:ext cx="297521" cy="684155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AAS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cxnSp>
          <p:nvCxnSpPr>
            <p:cNvPr id="93" name="直接箭头连接符 92"/>
            <p:cNvCxnSpPr/>
            <p:nvPr/>
          </p:nvCxnSpPr>
          <p:spPr>
            <a:xfrm>
              <a:off x="3418950" y="3054967"/>
              <a:ext cx="1632" cy="961391"/>
            </a:xfrm>
            <a:prstGeom prst="straightConnector1">
              <a:avLst/>
            </a:prstGeom>
            <a:ln>
              <a:solidFill>
                <a:schemeClr val="accent5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直接箭头连接符 93"/>
            <p:cNvCxnSpPr/>
            <p:nvPr/>
          </p:nvCxnSpPr>
          <p:spPr>
            <a:xfrm>
              <a:off x="3616421" y="4440895"/>
              <a:ext cx="1632" cy="306328"/>
            </a:xfrm>
            <a:prstGeom prst="straightConnector1">
              <a:avLst/>
            </a:prstGeom>
            <a:ln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圆角矩形 94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2862147" y="4332017"/>
              <a:ext cx="297521" cy="486574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FSC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cxnSp>
          <p:nvCxnSpPr>
            <p:cNvPr id="97" name="直接箭头连接符 36"/>
            <p:cNvCxnSpPr/>
            <p:nvPr/>
          </p:nvCxnSpPr>
          <p:spPr>
            <a:xfrm flipH="1">
              <a:off x="3802356" y="3100907"/>
              <a:ext cx="3688" cy="307358"/>
            </a:xfrm>
            <a:prstGeom prst="straightConnector1">
              <a:avLst/>
            </a:prstGeom>
            <a:ln>
              <a:prstDash val="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直接箭头连接符 36"/>
            <p:cNvCxnSpPr/>
            <p:nvPr/>
          </p:nvCxnSpPr>
          <p:spPr>
            <a:xfrm flipH="1">
              <a:off x="3772405" y="3759509"/>
              <a:ext cx="3787" cy="303905"/>
            </a:xfrm>
            <a:prstGeom prst="straightConnector1">
              <a:avLst/>
            </a:prstGeom>
            <a:ln>
              <a:prstDash val="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文本框 98"/>
            <p:cNvSpPr txBox="1"/>
            <p:nvPr/>
          </p:nvSpPr>
          <p:spPr>
            <a:xfrm>
              <a:off x="3848732" y="3798112"/>
              <a:ext cx="307777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800" dirty="0" smtClean="0">
                  <a:latin typeface="微软雅黑" pitchFamily="34" charset="-122"/>
                  <a:ea typeface="微软雅黑" pitchFamily="34" charset="-122"/>
                </a:rPr>
                <a:t>全品牌</a:t>
              </a:r>
            </a:p>
          </p:txBody>
        </p:sp>
        <p:cxnSp>
          <p:nvCxnSpPr>
            <p:cNvPr id="101" name="直接箭头连接符 100"/>
            <p:cNvCxnSpPr>
              <a:stCxn id="75" idx="0"/>
              <a:endCxn id="95" idx="3"/>
            </p:cNvCxnSpPr>
            <p:nvPr/>
          </p:nvCxnSpPr>
          <p:spPr>
            <a:xfrm rot="10800000" flipV="1">
              <a:off x="3010908" y="4228408"/>
              <a:ext cx="246020" cy="198135"/>
            </a:xfrm>
            <a:prstGeom prst="bentConnector2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0" name="组合 139"/>
          <p:cNvGrpSpPr/>
          <p:nvPr/>
        </p:nvGrpSpPr>
        <p:grpSpPr>
          <a:xfrm>
            <a:off x="6228184" y="2578675"/>
            <a:ext cx="1584176" cy="2281315"/>
            <a:chOff x="5940152" y="2739582"/>
            <a:chExt cx="1584176" cy="2281315"/>
          </a:xfrm>
        </p:grpSpPr>
        <p:sp>
          <p:nvSpPr>
            <p:cNvPr id="106" name="圆角矩形 105">
              <a:extLst>
                <a:ext uri="{FF2B5EF4-FFF2-40B4-BE49-F238E27FC236}">
                  <a16:creationId xmlns:a16="http://schemas.microsoft.com/office/drawing/2014/main" id="{B1B2561D-196E-AE40-846B-2EBA7559DDEA}"/>
                </a:ext>
              </a:extLst>
            </p:cNvPr>
            <p:cNvSpPr/>
            <p:nvPr/>
          </p:nvSpPr>
          <p:spPr>
            <a:xfrm rot="16200000">
              <a:off x="6878894" y="3721711"/>
              <a:ext cx="313407" cy="977461"/>
            </a:xfrm>
            <a:prstGeom prst="roundRect">
              <a:avLst>
                <a:gd name="adj" fmla="val 8635"/>
              </a:avLst>
            </a:prstGeom>
            <a:solidFill>
              <a:srgbClr val="C000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1000" kern="0" dirty="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支付中心</a:t>
              </a:r>
              <a:endPara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07" name="圆角矩形 106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6849802" y="2445353"/>
              <a:ext cx="297521" cy="885979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10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全品牌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08" name="圆角矩形 107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7017950" y="3253447"/>
              <a:ext cx="297521" cy="571222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OCC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10" name="圆柱形 109"/>
            <p:cNvSpPr/>
            <p:nvPr/>
          </p:nvSpPr>
          <p:spPr>
            <a:xfrm>
              <a:off x="6591894" y="4722994"/>
              <a:ext cx="641748" cy="297903"/>
            </a:xfrm>
            <a:prstGeom prst="can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1" name="文本框 110"/>
            <p:cNvSpPr txBox="1"/>
            <p:nvPr/>
          </p:nvSpPr>
          <p:spPr>
            <a:xfrm>
              <a:off x="6808572" y="4855049"/>
              <a:ext cx="20839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800" dirty="0" smtClean="0">
                  <a:latin typeface="微软雅黑" pitchFamily="34" charset="-122"/>
                  <a:ea typeface="微软雅黑" pitchFamily="34" charset="-122"/>
                </a:rPr>
                <a:t>TiDB</a:t>
              </a:r>
              <a:endParaRPr lang="zh-CN" altLang="en-US" sz="8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122" name="直接箭头连接符 121"/>
            <p:cNvCxnSpPr/>
            <p:nvPr/>
          </p:nvCxnSpPr>
          <p:spPr>
            <a:xfrm flipH="1">
              <a:off x="6733724" y="3064187"/>
              <a:ext cx="5754" cy="957248"/>
            </a:xfrm>
            <a:prstGeom prst="straightConnector1">
              <a:avLst/>
            </a:prstGeom>
            <a:ln>
              <a:solidFill>
                <a:schemeClr val="accent5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直接箭头连接符 122"/>
            <p:cNvCxnSpPr/>
            <p:nvPr/>
          </p:nvCxnSpPr>
          <p:spPr>
            <a:xfrm>
              <a:off x="6873679" y="4422928"/>
              <a:ext cx="1484" cy="306328"/>
            </a:xfrm>
            <a:prstGeom prst="straightConnector1">
              <a:avLst/>
            </a:prstGeom>
            <a:ln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圆角矩形 123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6029450" y="4356274"/>
              <a:ext cx="223532" cy="402127"/>
            </a:xfrm>
            <a:prstGeom prst="roundRect">
              <a:avLst/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FSC</a:t>
              </a:r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cxnSp>
          <p:nvCxnSpPr>
            <p:cNvPr id="126" name="直接箭头连接符 36"/>
            <p:cNvCxnSpPr/>
            <p:nvPr/>
          </p:nvCxnSpPr>
          <p:spPr>
            <a:xfrm flipH="1">
              <a:off x="7155131" y="3731382"/>
              <a:ext cx="1480" cy="299300"/>
            </a:xfrm>
            <a:prstGeom prst="straightConnector1">
              <a:avLst/>
            </a:prstGeom>
            <a:ln>
              <a:prstDash val="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直接箭头连接符 100"/>
            <p:cNvCxnSpPr>
              <a:stCxn id="106" idx="0"/>
              <a:endCxn id="124" idx="3"/>
            </p:cNvCxnSpPr>
            <p:nvPr/>
          </p:nvCxnSpPr>
          <p:spPr>
            <a:xfrm rot="10800000" flipV="1">
              <a:off x="6141217" y="4210440"/>
              <a:ext cx="405650" cy="235131"/>
            </a:xfrm>
            <a:prstGeom prst="bentConnector2">
              <a:avLst/>
            </a:prstGeom>
            <a:ln>
              <a:solidFill>
                <a:schemeClr val="bg1">
                  <a:lumMod val="75000"/>
                </a:schemeClr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直接箭头连接符 36"/>
            <p:cNvCxnSpPr/>
            <p:nvPr/>
          </p:nvCxnSpPr>
          <p:spPr>
            <a:xfrm flipH="1">
              <a:off x="7164288" y="3065178"/>
              <a:ext cx="1480" cy="299300"/>
            </a:xfrm>
            <a:prstGeom prst="straightConnector1">
              <a:avLst/>
            </a:prstGeom>
            <a:ln>
              <a:prstDash val="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05388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"/>
          <p:cNvSpPr txBox="1">
            <a:spLocks noChangeArrowheads="1"/>
          </p:cNvSpPr>
          <p:nvPr/>
        </p:nvSpPr>
        <p:spPr bwMode="gray">
          <a:xfrm>
            <a:off x="0" y="195486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lvl="0"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项目费用评估</a:t>
            </a:r>
            <a:r>
              <a:rPr lang="en-US" altLang="zh-CN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(</a:t>
            </a: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软件） </a:t>
            </a: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904875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800" dirty="0">
                <a:solidFill>
                  <a:srgbClr val="FFFFFF"/>
                </a:solidFill>
                <a:latin typeface="等线"/>
              </a:rPr>
              <a:t>¥2,891,070.00</a:t>
            </a:r>
            <a:r>
              <a:rPr lang="zh-CN" altLang="en-US" dirty="0"/>
              <a:t> 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4357047"/>
              </p:ext>
            </p:extLst>
          </p:nvPr>
        </p:nvGraphicFramePr>
        <p:xfrm>
          <a:off x="422514" y="699542"/>
          <a:ext cx="8208913" cy="4383498"/>
        </p:xfrm>
        <a:graphic>
          <a:graphicData uri="http://schemas.openxmlformats.org/drawingml/2006/table">
            <a:tbl>
              <a:tblPr/>
              <a:tblGrid>
                <a:gridCol w="12241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035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06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8038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dirty="0">
                          <a:solidFill>
                            <a:srgbClr val="FFFFFF"/>
                          </a:solidFill>
                          <a:effectLst/>
                          <a:latin typeface="宋体"/>
                        </a:rPr>
                        <a:t>Requirement</a:t>
                      </a:r>
                    </a:p>
                  </a:txBody>
                  <a:tcPr marL="2800" marR="2800" marT="28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宋体"/>
                        </a:rPr>
                        <a:t>System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宋体"/>
                        </a:rPr>
                        <a:t>Function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宋体"/>
                        </a:rPr>
                        <a:t>Owner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宋体"/>
                        </a:rPr>
                        <a:t>Vendor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宋体"/>
                        </a:rPr>
                        <a:t>Man-day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宋体"/>
                        </a:rPr>
                        <a:t>Unit Price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宋体"/>
                        </a:rPr>
                        <a:t>Cost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3010">
                <a:tc rowSpan="18"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支付中心二期构建</a:t>
                      </a:r>
                    </a:p>
                  </a:txBody>
                  <a:tcPr marL="2800" marR="2800" marT="28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支付中心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正向支付标准模型构建：包括统一支付号，自动冲销，关单，支付渠道网关，业务接入网关，交易与支付模型拆分，支付及退款交易流程等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u,Jason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日立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9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004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¥1,941,876.0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320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百胜数字资产管理：包括券，权益在点餐业务中的使用核销与反核销，线上线下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310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帐务核对及处理：包括支付流水与帐务核对，支付握手数据供给，退款数据核对与状态管理，异常数据报表及处理</a:t>
                      </a:r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, FSC</a:t>
                      </a:r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报表数据提供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6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320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线下支付数据归集：包括获取线下支付数据，转换数据格式存储到帐务系统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291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加强风险管控：退款时增加策略控制，包括业务渠道数量，随机延迟，订单是否已服务校验，同一券码的反复撤销核销，日退款</a:t>
                      </a:r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/</a:t>
                      </a:r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券撤销核销占比异常，同一会员号</a:t>
                      </a:r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/</a:t>
                      </a:r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支付帐户高频退款</a:t>
                      </a:r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/</a:t>
                      </a:r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撤销核销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5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03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新旧系统流量切转方案及实施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320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退单统计报表及邮件以及统一支付号相关处理：</a:t>
                      </a:r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</a:t>
                      </a:r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日异常退单报表，</a:t>
                      </a:r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</a:t>
                      </a:r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日退款汇总报表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291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订单中心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提供线下支付数据</a:t>
                      </a:r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,</a:t>
                      </a:r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包括百胜数字资产第三方支付，包括新增推送</a:t>
                      </a:r>
                      <a:r>
                        <a:rPr lang="en-US" altLang="zh-CN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daemon</a:t>
                      </a:r>
                      <a:r>
                        <a:rPr lang="zh-CN" altLang="en-US" sz="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，</a:t>
                      </a:r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复制离线订单队列，根据过滤条件筛选信息，组合推送报文格式，失败重试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ao, Robert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明胜品智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5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¥122,100.0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310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为支付中心退单提供订单状态信息用于风险管控：包括该订单是否存在，该订单已被服务以及唯一订单号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566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SC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退款入口：包括手工退款，批量退款，退款状态补录，退款状态查询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hen, Andy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网新恒天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5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¥54,000.0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4330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财务关于退款报表：订单完整性报表，退款报表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803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券中心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接入支付中台核销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hen, Shawn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Infosys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79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¥80,550.0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03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增加支付中台统一支付号支持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4330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管理</a:t>
                      </a:r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/</a:t>
                      </a:r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客服平台支持查询支付中台核销流水</a:t>
                      </a:r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803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POS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券</a:t>
                      </a:r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/</a:t>
                      </a:r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权益使用核销接入支付中台</a:t>
                      </a:r>
                      <a:endParaRPr lang="zh-CN" altLang="en-US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u, Will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日立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004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¥90,180.0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4330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gold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</a:t>
                      </a:r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金当钱花异步核销</a:t>
                      </a:r>
                      <a:endParaRPr lang="zh-CN" altLang="en-US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Zou, Wenzuo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明胜品智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5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¥27,750.0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803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统一客服平台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所有订单查询支持统一支付号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Zhang, Qian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软通动力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0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¥72,000.0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803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rime</a:t>
                      </a:r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卡销卡人工兜底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433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QA</a:t>
                      </a:r>
                    </a:p>
                  </a:txBody>
                  <a:tcPr marL="2800" marR="2800" marT="28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　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　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ng, Huan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北京捷科智诚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¥5,750.0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80388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AAS</a:t>
                      </a:r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接入支付中心二期</a:t>
                      </a:r>
                    </a:p>
                  </a:txBody>
                  <a:tcPr marL="2800" marR="2800" marT="28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AS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券</a:t>
                      </a:r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/</a:t>
                      </a:r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权益异步核销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Zhang, Haojun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明胜品智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1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5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¥114,700.0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803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新支付标准对接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30757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KFC Preorder/KFC Delivery/PH</a:t>
                      </a:r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扫码点餐</a:t>
                      </a:r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/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H</a:t>
                      </a:r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外送接入支付中心二期</a:t>
                      </a:r>
                    </a:p>
                  </a:txBody>
                  <a:tcPr marL="2800" marR="2800" marT="28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FC Preorder/KFC Delivery/PH</a:t>
                      </a:r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扫码点餐</a:t>
                      </a:r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/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H</a:t>
                      </a:r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外送接</a:t>
                      </a:r>
                      <a:endParaRPr lang="zh-CN" altLang="en-US" sz="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券</a:t>
                      </a:r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/</a:t>
                      </a:r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权益异步核销；新支付标准对接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　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　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　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　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¥300,000.0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8388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600" b="0" i="0" u="none" strike="noStrike">
                          <a:solidFill>
                            <a:srgbClr val="FFFFFF"/>
                          </a:solidFill>
                          <a:effectLst/>
                          <a:latin typeface="等线"/>
                        </a:rPr>
                        <a:t>合计</a:t>
                      </a:r>
                    </a:p>
                  </a:txBody>
                  <a:tcPr marL="2800" marR="2800" marT="28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0" i="0" u="none" strike="noStrike">
                          <a:solidFill>
                            <a:srgbClr val="FFFFFF"/>
                          </a:solidFill>
                          <a:effectLst/>
                          <a:latin typeface="等线"/>
                        </a:rPr>
                        <a:t>　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en-US" altLang="zh-CN" sz="600" b="0" i="0" u="none" strike="noStrike" dirty="0">
                          <a:solidFill>
                            <a:srgbClr val="FFFFFF"/>
                          </a:solidFill>
                          <a:effectLst/>
                          <a:latin typeface="等线"/>
                        </a:rPr>
                        <a:t>¥2,808,906.00</a:t>
                      </a:r>
                    </a:p>
                  </a:txBody>
                  <a:tcPr marL="2800" marR="2800" marT="28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1445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"/>
          <p:cNvSpPr txBox="1">
            <a:spLocks noChangeArrowheads="1"/>
          </p:cNvSpPr>
          <p:nvPr/>
        </p:nvSpPr>
        <p:spPr bwMode="gray">
          <a:xfrm>
            <a:off x="0" y="195486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项目费用评估</a:t>
            </a:r>
            <a:r>
              <a:rPr lang="en-US" altLang="zh-CN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(</a:t>
            </a: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硬件）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2691385"/>
              </p:ext>
            </p:extLst>
          </p:nvPr>
        </p:nvGraphicFramePr>
        <p:xfrm>
          <a:off x="308993" y="1051169"/>
          <a:ext cx="8511158" cy="3473207"/>
        </p:xfrm>
        <a:graphic>
          <a:graphicData uri="http://schemas.openxmlformats.org/drawingml/2006/table">
            <a:tbl>
              <a:tblPr/>
              <a:tblGrid>
                <a:gridCol w="15157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21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15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733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645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45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6457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6457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68417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负责人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服务器类型</a:t>
                      </a:r>
                      <a:r>
                        <a:rPr lang="en-US" altLang="zh-CN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/</a:t>
                      </a:r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用途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配置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环境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数量（台）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折算物理机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单价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总价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8417">
                <a:tc rowSpan="10"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Jason Wu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App Server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Core/8G/50G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腾讯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2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86,021 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72,042 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847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Redis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Core/16G/50G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腾讯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9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847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Pulsar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Core/8G/150G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腾讯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FF0000"/>
                          </a:solidFill>
                          <a:effectLst/>
                          <a:latin typeface="微软雅黑"/>
                        </a:rPr>
                        <a:t>8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847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TiDB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(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数据库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)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4Core/32G/50G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腾讯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FF0000"/>
                          </a:solidFill>
                          <a:effectLst/>
                          <a:latin typeface="微软雅黑"/>
                        </a:rPr>
                        <a:t>4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937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TiKV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（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数据库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)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*14C/512G/3*3.84TNVME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物理机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腾讯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FF0000"/>
                          </a:solidFill>
                          <a:effectLst/>
                          <a:latin typeface="微软雅黑"/>
                        </a:rPr>
                        <a:t>1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FF0000"/>
                          </a:solidFill>
                          <a:effectLst/>
                          <a:latin typeface="微软雅黑"/>
                        </a:rPr>
                        <a:t>1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FF0000"/>
                          </a:solidFill>
                          <a:effectLst/>
                          <a:latin typeface="微软雅黑"/>
                        </a:rPr>
                        <a:t>130,733 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FF0000"/>
                          </a:solidFill>
                          <a:effectLst/>
                          <a:latin typeface="微软雅黑"/>
                        </a:rPr>
                        <a:t>130,733 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841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App Server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Core/8G/50G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万国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2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0,817 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81,634 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847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Redi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Core/16G/50G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万国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9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847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Pulsar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Core/8G/150G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万国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FF0000"/>
                          </a:solidFill>
                          <a:effectLst/>
                          <a:latin typeface="微软雅黑"/>
                        </a:rPr>
                        <a:t>8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847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TiDB(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数据库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)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4Core/32G/50G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万国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FF0000"/>
                          </a:solidFill>
                          <a:effectLst/>
                          <a:latin typeface="微软雅黑"/>
                        </a:rPr>
                        <a:t>4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937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TiKV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（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数据库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)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*14C/512G/3*3.84TNVME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物理机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万国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FF0000"/>
                          </a:solidFill>
                          <a:effectLst/>
                          <a:latin typeface="微软雅黑"/>
                        </a:rPr>
                        <a:t>1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FF0000"/>
                          </a:solidFill>
                          <a:effectLst/>
                          <a:latin typeface="微软雅黑"/>
                        </a:rPr>
                        <a:t>1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FF0000"/>
                          </a:solidFill>
                          <a:effectLst/>
                          <a:latin typeface="微软雅黑"/>
                        </a:rPr>
                        <a:t>135,529 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FF0000"/>
                          </a:solidFill>
                          <a:effectLst/>
                          <a:latin typeface="微软雅黑"/>
                        </a:rPr>
                        <a:t>135,529 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8356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合计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　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　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　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　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　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r" fontAlgn="ctr"/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/>
                        </a:rPr>
                        <a:t>1,019,938 </a:t>
                      </a:r>
                    </a:p>
                  </a:txBody>
                  <a:tcPr marL="5921" marR="5921" marT="592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7972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ext Box 18"/>
          <p:cNvSpPr txBox="1">
            <a:spLocks noChangeArrowheads="1"/>
          </p:cNvSpPr>
          <p:nvPr/>
        </p:nvSpPr>
        <p:spPr bwMode="gray">
          <a:xfrm>
            <a:off x="0" y="195486"/>
            <a:ext cx="777686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</a:rPr>
              <a:t>项目实施计划</a:t>
            </a:r>
          </a:p>
        </p:txBody>
      </p:sp>
      <p:grpSp>
        <p:nvGrpSpPr>
          <p:cNvPr id="90" name="组合 89"/>
          <p:cNvGrpSpPr/>
          <p:nvPr/>
        </p:nvGrpSpPr>
        <p:grpSpPr>
          <a:xfrm>
            <a:off x="755576" y="1221277"/>
            <a:ext cx="7802113" cy="3853003"/>
            <a:chOff x="294469" y="1445698"/>
            <a:chExt cx="7802113" cy="3445406"/>
          </a:xfrm>
        </p:grpSpPr>
        <p:cxnSp>
          <p:nvCxnSpPr>
            <p:cNvPr id="91" name="Straight Connector 114">
              <a:extLst>
                <a:ext uri="{FF2B5EF4-FFF2-40B4-BE49-F238E27FC236}">
                  <a16:creationId xmlns:a16="http://schemas.microsoft.com/office/drawing/2014/main" id="{B02E03C1-088B-4AD2-9A8A-BE2EA40A53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89528" y="1482212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92" name="Straight Connector 116">
              <a:extLst>
                <a:ext uri="{FF2B5EF4-FFF2-40B4-BE49-F238E27FC236}">
                  <a16:creationId xmlns:a16="http://schemas.microsoft.com/office/drawing/2014/main" id="{651E2140-BF21-467D-AD2D-308CECDED53B}"/>
                </a:ext>
              </a:extLst>
            </p:cNvPr>
            <p:cNvCxnSpPr>
              <a:cxnSpLocks/>
            </p:cNvCxnSpPr>
            <p:nvPr/>
          </p:nvCxnSpPr>
          <p:spPr>
            <a:xfrm>
              <a:off x="2143864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93" name="Straight Connector 116">
              <a:extLst>
                <a:ext uri="{FF2B5EF4-FFF2-40B4-BE49-F238E27FC236}">
                  <a16:creationId xmlns:a16="http://schemas.microsoft.com/office/drawing/2014/main" id="{07AB0C01-584E-42A5-B0DA-AAA72741F9BE}"/>
                </a:ext>
              </a:extLst>
            </p:cNvPr>
            <p:cNvCxnSpPr>
              <a:cxnSpLocks/>
            </p:cNvCxnSpPr>
            <p:nvPr/>
          </p:nvCxnSpPr>
          <p:spPr>
            <a:xfrm>
              <a:off x="2326340" y="1482211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1" name="Straight Connector 166">
              <a:extLst>
                <a:ext uri="{FF2B5EF4-FFF2-40B4-BE49-F238E27FC236}">
                  <a16:creationId xmlns:a16="http://schemas.microsoft.com/office/drawing/2014/main" id="{3FBF50E6-711D-46BA-A305-D00786BE7ED6}"/>
                </a:ext>
              </a:extLst>
            </p:cNvPr>
            <p:cNvCxnSpPr>
              <a:cxnSpLocks/>
            </p:cNvCxnSpPr>
            <p:nvPr/>
          </p:nvCxnSpPr>
          <p:spPr>
            <a:xfrm>
              <a:off x="3245785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2" name="Straight Connector 169">
              <a:extLst>
                <a:ext uri="{FF2B5EF4-FFF2-40B4-BE49-F238E27FC236}">
                  <a16:creationId xmlns:a16="http://schemas.microsoft.com/office/drawing/2014/main" id="{CDE47805-28A5-4775-ACCF-00FD16D2379A}"/>
                </a:ext>
              </a:extLst>
            </p:cNvPr>
            <p:cNvCxnSpPr>
              <a:cxnSpLocks/>
            </p:cNvCxnSpPr>
            <p:nvPr/>
          </p:nvCxnSpPr>
          <p:spPr>
            <a:xfrm>
              <a:off x="4556760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3" name="Straight Connector 168">
              <a:extLst>
                <a:ext uri="{FF2B5EF4-FFF2-40B4-BE49-F238E27FC236}">
                  <a16:creationId xmlns:a16="http://schemas.microsoft.com/office/drawing/2014/main" id="{65AF7A11-AEF2-4CE3-9569-3A3BD88EFF55}"/>
                </a:ext>
              </a:extLst>
            </p:cNvPr>
            <p:cNvCxnSpPr>
              <a:cxnSpLocks/>
            </p:cNvCxnSpPr>
            <p:nvPr/>
          </p:nvCxnSpPr>
          <p:spPr>
            <a:xfrm>
              <a:off x="3989832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6" name="Straight Connector 169">
              <a:extLst>
                <a:ext uri="{FF2B5EF4-FFF2-40B4-BE49-F238E27FC236}">
                  <a16:creationId xmlns:a16="http://schemas.microsoft.com/office/drawing/2014/main" id="{7BF648CC-4701-43A4-9DFC-1A65D3AC065F}"/>
                </a:ext>
              </a:extLst>
            </p:cNvPr>
            <p:cNvCxnSpPr>
              <a:cxnSpLocks/>
            </p:cNvCxnSpPr>
            <p:nvPr/>
          </p:nvCxnSpPr>
          <p:spPr>
            <a:xfrm>
              <a:off x="4367784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7" name="Straight Connector 171">
              <a:extLst>
                <a:ext uri="{FF2B5EF4-FFF2-40B4-BE49-F238E27FC236}">
                  <a16:creationId xmlns:a16="http://schemas.microsoft.com/office/drawing/2014/main" id="{C7A3F65F-C93C-4CCE-93BD-7A37AD3EFD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02352" y="1482212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8" name="Straight Connector 166">
              <a:extLst>
                <a:ext uri="{FF2B5EF4-FFF2-40B4-BE49-F238E27FC236}">
                  <a16:creationId xmlns:a16="http://schemas.microsoft.com/office/drawing/2014/main" id="{38602CEF-518E-4D82-9FA1-095751E1B515}"/>
                </a:ext>
              </a:extLst>
            </p:cNvPr>
            <p:cNvCxnSpPr>
              <a:cxnSpLocks/>
            </p:cNvCxnSpPr>
            <p:nvPr/>
          </p:nvCxnSpPr>
          <p:spPr>
            <a:xfrm>
              <a:off x="3066349" y="1482211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9" name="Straight Connector 113">
              <a:extLst>
                <a:ext uri="{FF2B5EF4-FFF2-40B4-BE49-F238E27FC236}">
                  <a16:creationId xmlns:a16="http://schemas.microsoft.com/office/drawing/2014/main" id="{31243C79-4794-4951-9220-142F9BCEC011}"/>
                </a:ext>
              </a:extLst>
            </p:cNvPr>
            <p:cNvCxnSpPr>
              <a:cxnSpLocks/>
            </p:cNvCxnSpPr>
            <p:nvPr/>
          </p:nvCxnSpPr>
          <p:spPr>
            <a:xfrm>
              <a:off x="653088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0" name="Straight Connector 114">
              <a:extLst>
                <a:ext uri="{FF2B5EF4-FFF2-40B4-BE49-F238E27FC236}">
                  <a16:creationId xmlns:a16="http://schemas.microsoft.com/office/drawing/2014/main" id="{C4EDDF43-B7C2-4411-91DD-4AABCD5B3DF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91696" y="1482212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1" name="Straight Connector 115">
              <a:extLst>
                <a:ext uri="{FF2B5EF4-FFF2-40B4-BE49-F238E27FC236}">
                  <a16:creationId xmlns:a16="http://schemas.microsoft.com/office/drawing/2014/main" id="{4265B7DB-1EF1-436E-8BDF-135C183C8945}"/>
                </a:ext>
              </a:extLst>
            </p:cNvPr>
            <p:cNvCxnSpPr>
              <a:cxnSpLocks/>
            </p:cNvCxnSpPr>
            <p:nvPr/>
          </p:nvCxnSpPr>
          <p:spPr>
            <a:xfrm>
              <a:off x="1767109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2" name="Straight Connector 116">
              <a:extLst>
                <a:ext uri="{FF2B5EF4-FFF2-40B4-BE49-F238E27FC236}">
                  <a16:creationId xmlns:a16="http://schemas.microsoft.com/office/drawing/2014/main" id="{ABD26F04-144F-43B1-89D0-E29A283036BD}"/>
                </a:ext>
              </a:extLst>
            </p:cNvPr>
            <p:cNvCxnSpPr>
              <a:cxnSpLocks/>
            </p:cNvCxnSpPr>
            <p:nvPr/>
          </p:nvCxnSpPr>
          <p:spPr>
            <a:xfrm>
              <a:off x="1961388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3" name="Straight Connector 113">
              <a:extLst>
                <a:ext uri="{FF2B5EF4-FFF2-40B4-BE49-F238E27FC236}">
                  <a16:creationId xmlns:a16="http://schemas.microsoft.com/office/drawing/2014/main" id="{91144476-2564-49CC-B9A1-9D68069C0104}"/>
                </a:ext>
              </a:extLst>
            </p:cNvPr>
            <p:cNvCxnSpPr>
              <a:cxnSpLocks/>
            </p:cNvCxnSpPr>
            <p:nvPr/>
          </p:nvCxnSpPr>
          <p:spPr>
            <a:xfrm>
              <a:off x="294469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4" name="Straight Connector 165">
              <a:extLst>
                <a:ext uri="{FF2B5EF4-FFF2-40B4-BE49-F238E27FC236}">
                  <a16:creationId xmlns:a16="http://schemas.microsoft.com/office/drawing/2014/main" id="{B9786FAE-FBA8-4198-9FCD-7B94E3D8E817}"/>
                </a:ext>
              </a:extLst>
            </p:cNvPr>
            <p:cNvCxnSpPr>
              <a:cxnSpLocks/>
            </p:cNvCxnSpPr>
            <p:nvPr/>
          </p:nvCxnSpPr>
          <p:spPr>
            <a:xfrm>
              <a:off x="1580448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5" name="Straight Connector 114">
              <a:extLst>
                <a:ext uri="{FF2B5EF4-FFF2-40B4-BE49-F238E27FC236}">
                  <a16:creationId xmlns:a16="http://schemas.microsoft.com/office/drawing/2014/main" id="{D4DD4F18-998F-4278-8440-FCA496D4973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38402" y="1507825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6" name="Straight Connector 115">
              <a:extLst>
                <a:ext uri="{FF2B5EF4-FFF2-40B4-BE49-F238E27FC236}">
                  <a16:creationId xmlns:a16="http://schemas.microsoft.com/office/drawing/2014/main" id="{A52B4A8F-059D-4FBD-BB8D-6C8DB4E9AA6F}"/>
                </a:ext>
              </a:extLst>
            </p:cNvPr>
            <p:cNvCxnSpPr>
              <a:cxnSpLocks/>
            </p:cNvCxnSpPr>
            <p:nvPr/>
          </p:nvCxnSpPr>
          <p:spPr>
            <a:xfrm>
              <a:off x="844831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7" name="Straight Connector 116">
              <a:extLst>
                <a:ext uri="{FF2B5EF4-FFF2-40B4-BE49-F238E27FC236}">
                  <a16:creationId xmlns:a16="http://schemas.microsoft.com/office/drawing/2014/main" id="{3A60C450-1DEC-4895-B812-6553D5733E1D}"/>
                </a:ext>
              </a:extLst>
            </p:cNvPr>
            <p:cNvCxnSpPr>
              <a:cxnSpLocks/>
            </p:cNvCxnSpPr>
            <p:nvPr/>
          </p:nvCxnSpPr>
          <p:spPr>
            <a:xfrm>
              <a:off x="1393787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8" name="Straight Connector 168">
              <a:extLst>
                <a:ext uri="{FF2B5EF4-FFF2-40B4-BE49-F238E27FC236}">
                  <a16:creationId xmlns:a16="http://schemas.microsoft.com/office/drawing/2014/main" id="{463C45D7-3AFF-467C-85BC-215ECEFB6AC5}"/>
                </a:ext>
              </a:extLst>
            </p:cNvPr>
            <p:cNvCxnSpPr>
              <a:cxnSpLocks/>
            </p:cNvCxnSpPr>
            <p:nvPr/>
          </p:nvCxnSpPr>
          <p:spPr>
            <a:xfrm>
              <a:off x="4186428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9" name="Straight Connector 169">
              <a:extLst>
                <a:ext uri="{FF2B5EF4-FFF2-40B4-BE49-F238E27FC236}">
                  <a16:creationId xmlns:a16="http://schemas.microsoft.com/office/drawing/2014/main" id="{A7A837BC-03EA-4EBD-ADF1-1B0BA89DC33B}"/>
                </a:ext>
              </a:extLst>
            </p:cNvPr>
            <p:cNvCxnSpPr>
              <a:cxnSpLocks/>
            </p:cNvCxnSpPr>
            <p:nvPr/>
          </p:nvCxnSpPr>
          <p:spPr>
            <a:xfrm>
              <a:off x="4928616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1" name="Straight Connector 166">
              <a:extLst>
                <a:ext uri="{FF2B5EF4-FFF2-40B4-BE49-F238E27FC236}">
                  <a16:creationId xmlns:a16="http://schemas.microsoft.com/office/drawing/2014/main" id="{457B519E-FD17-43A7-87FF-5A0266C6C8EA}"/>
                </a:ext>
              </a:extLst>
            </p:cNvPr>
            <p:cNvCxnSpPr>
              <a:cxnSpLocks/>
            </p:cNvCxnSpPr>
            <p:nvPr/>
          </p:nvCxnSpPr>
          <p:spPr>
            <a:xfrm>
              <a:off x="3615721" y="1482211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2" name="Straight Connector 171">
              <a:extLst>
                <a:ext uri="{FF2B5EF4-FFF2-40B4-BE49-F238E27FC236}">
                  <a16:creationId xmlns:a16="http://schemas.microsoft.com/office/drawing/2014/main" id="{8BB4A749-05DE-4693-A666-6CB67D155C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93614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3" name="Straight Connector 171">
              <a:extLst>
                <a:ext uri="{FF2B5EF4-FFF2-40B4-BE49-F238E27FC236}">
                  <a16:creationId xmlns:a16="http://schemas.microsoft.com/office/drawing/2014/main" id="{E33514DA-F993-4E0D-957C-324FDBEA43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84876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4" name="Straight Connector 171">
              <a:extLst>
                <a:ext uri="{FF2B5EF4-FFF2-40B4-BE49-F238E27FC236}">
                  <a16:creationId xmlns:a16="http://schemas.microsoft.com/office/drawing/2014/main" id="{B8A8384F-3BB8-47E1-86CD-834B5B0B4FC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68518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5" name="Straight Connector 171">
              <a:extLst>
                <a:ext uri="{FF2B5EF4-FFF2-40B4-BE49-F238E27FC236}">
                  <a16:creationId xmlns:a16="http://schemas.microsoft.com/office/drawing/2014/main" id="{FF53574F-1EA2-4B38-B9FF-2B4775E8EE6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4795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6" name="Straight Connector 171">
              <a:extLst>
                <a:ext uri="{FF2B5EF4-FFF2-40B4-BE49-F238E27FC236}">
                  <a16:creationId xmlns:a16="http://schemas.microsoft.com/office/drawing/2014/main" id="{9B7A2C26-3BD7-4A2B-A9B0-251297ACB7D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2808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7" name="Straight Connector 171">
              <a:extLst>
                <a:ext uri="{FF2B5EF4-FFF2-40B4-BE49-F238E27FC236}">
                  <a16:creationId xmlns:a16="http://schemas.microsoft.com/office/drawing/2014/main" id="{BA759861-F629-439D-8CB4-FD4EB1F8C5F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2112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8" name="Straight Connector 171">
              <a:extLst>
                <a:ext uri="{FF2B5EF4-FFF2-40B4-BE49-F238E27FC236}">
                  <a16:creationId xmlns:a16="http://schemas.microsoft.com/office/drawing/2014/main" id="{10737EC3-1C83-4E7B-A42F-7F320A2BF77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0146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9" name="Straight Connector 171">
              <a:extLst>
                <a:ext uri="{FF2B5EF4-FFF2-40B4-BE49-F238E27FC236}">
                  <a16:creationId xmlns:a16="http://schemas.microsoft.com/office/drawing/2014/main" id="{C5410D3F-E322-4DD1-9FCE-9A12271C38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8815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0" name="Straight Connector 171">
              <a:extLst>
                <a:ext uri="{FF2B5EF4-FFF2-40B4-BE49-F238E27FC236}">
                  <a16:creationId xmlns:a16="http://schemas.microsoft.com/office/drawing/2014/main" id="{024578CD-5625-4305-A426-CF553FB2BD5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68642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1" name="Straight Connector 171">
              <a:extLst>
                <a:ext uri="{FF2B5EF4-FFF2-40B4-BE49-F238E27FC236}">
                  <a16:creationId xmlns:a16="http://schemas.microsoft.com/office/drawing/2014/main" id="{87364829-5E5A-4335-B02E-C825AC5DA0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45934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2" name="Straight Connector 171">
              <a:extLst>
                <a:ext uri="{FF2B5EF4-FFF2-40B4-BE49-F238E27FC236}">
                  <a16:creationId xmlns:a16="http://schemas.microsoft.com/office/drawing/2014/main" id="{094A8C5C-5F2A-4ABB-A553-DFE474A928D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20686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3" name="Straight Connector 171">
              <a:extLst>
                <a:ext uri="{FF2B5EF4-FFF2-40B4-BE49-F238E27FC236}">
                  <a16:creationId xmlns:a16="http://schemas.microsoft.com/office/drawing/2014/main" id="{06DF3CC0-465C-4931-9EB1-DB6E0FA010F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19568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4" name="Straight Connector 171">
              <a:extLst>
                <a:ext uri="{FF2B5EF4-FFF2-40B4-BE49-F238E27FC236}">
                  <a16:creationId xmlns:a16="http://schemas.microsoft.com/office/drawing/2014/main" id="{50E2B68C-DBA2-4DCA-A83B-30D8D8CA9D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13423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6" name="Straight Connector 166">
              <a:extLst>
                <a:ext uri="{FF2B5EF4-FFF2-40B4-BE49-F238E27FC236}">
                  <a16:creationId xmlns:a16="http://schemas.microsoft.com/office/drawing/2014/main" id="{208DF219-1D39-4EEA-81DD-488FB7F75902}"/>
                </a:ext>
              </a:extLst>
            </p:cNvPr>
            <p:cNvCxnSpPr>
              <a:cxnSpLocks/>
            </p:cNvCxnSpPr>
            <p:nvPr/>
          </p:nvCxnSpPr>
          <p:spPr>
            <a:xfrm>
              <a:off x="3810397" y="1482211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7" name="Straight Connector 113">
              <a:extLst>
                <a:ext uri="{FF2B5EF4-FFF2-40B4-BE49-F238E27FC236}">
                  <a16:creationId xmlns:a16="http://schemas.microsoft.com/office/drawing/2014/main" id="{049B2BFE-9B46-42C8-A384-60BA70DFE0AD}"/>
                </a:ext>
              </a:extLst>
            </p:cNvPr>
            <p:cNvCxnSpPr>
              <a:cxnSpLocks/>
            </p:cNvCxnSpPr>
            <p:nvPr/>
          </p:nvCxnSpPr>
          <p:spPr>
            <a:xfrm>
              <a:off x="467544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8" name="Straight Connector 171">
              <a:extLst>
                <a:ext uri="{FF2B5EF4-FFF2-40B4-BE49-F238E27FC236}">
                  <a16:creationId xmlns:a16="http://schemas.microsoft.com/office/drawing/2014/main" id="{079BD03B-1ECA-422B-BAD6-7932F19DD5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095542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1" name="Straight Connector 116">
              <a:extLst>
                <a:ext uri="{FF2B5EF4-FFF2-40B4-BE49-F238E27FC236}">
                  <a16:creationId xmlns:a16="http://schemas.microsoft.com/office/drawing/2014/main" id="{3A60C450-1DEC-4895-B812-6553D5733E1D}"/>
                </a:ext>
              </a:extLst>
            </p:cNvPr>
            <p:cNvCxnSpPr>
              <a:cxnSpLocks/>
            </p:cNvCxnSpPr>
            <p:nvPr/>
          </p:nvCxnSpPr>
          <p:spPr>
            <a:xfrm>
              <a:off x="1210484" y="1445698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2" name="Straight Connector 114">
              <a:extLst>
                <a:ext uri="{FF2B5EF4-FFF2-40B4-BE49-F238E27FC236}">
                  <a16:creationId xmlns:a16="http://schemas.microsoft.com/office/drawing/2014/main" id="{C4EDDF43-B7C2-4411-91DD-4AABCD5B3DF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08342" y="1482212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3" name="Straight Connector 166">
              <a:extLst>
                <a:ext uri="{FF2B5EF4-FFF2-40B4-BE49-F238E27FC236}">
                  <a16:creationId xmlns:a16="http://schemas.microsoft.com/office/drawing/2014/main" id="{457B519E-FD17-43A7-87FF-5A0266C6C8EA}"/>
                </a:ext>
              </a:extLst>
            </p:cNvPr>
            <p:cNvCxnSpPr>
              <a:cxnSpLocks/>
            </p:cNvCxnSpPr>
            <p:nvPr/>
          </p:nvCxnSpPr>
          <p:spPr>
            <a:xfrm>
              <a:off x="3435112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4" name="Straight Connector 169">
              <a:extLst>
                <a:ext uri="{FF2B5EF4-FFF2-40B4-BE49-F238E27FC236}">
                  <a16:creationId xmlns:a16="http://schemas.microsoft.com/office/drawing/2014/main" id="{A7A837BC-03EA-4EBD-ADF1-1B0BA89DC33B}"/>
                </a:ext>
              </a:extLst>
            </p:cNvPr>
            <p:cNvCxnSpPr>
              <a:cxnSpLocks/>
            </p:cNvCxnSpPr>
            <p:nvPr/>
          </p:nvCxnSpPr>
          <p:spPr>
            <a:xfrm>
              <a:off x="4738876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5" name="Straight Connector 171">
              <a:extLst>
                <a:ext uri="{FF2B5EF4-FFF2-40B4-BE49-F238E27FC236}">
                  <a16:creationId xmlns:a16="http://schemas.microsoft.com/office/drawing/2014/main" id="{FF53574F-1EA2-4B38-B9FF-2B4775E8EE6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58523" y="1496988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6" name="Straight Connector 171">
              <a:extLst>
                <a:ext uri="{FF2B5EF4-FFF2-40B4-BE49-F238E27FC236}">
                  <a16:creationId xmlns:a16="http://schemas.microsoft.com/office/drawing/2014/main" id="{024578CD-5625-4305-A426-CF553FB2BD5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70465" y="1491239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</p:grpSp>
      <p:graphicFrame>
        <p:nvGraphicFramePr>
          <p:cNvPr id="167" name="Table 23">
            <a:extLst>
              <a:ext uri="{FF2B5EF4-FFF2-40B4-BE49-F238E27FC236}">
                <a16:creationId xmlns:a16="http://schemas.microsoft.com/office/drawing/2014/main" id="{0341F927-06CD-4A4C-AF8B-CA1547242B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0720458"/>
              </p:ext>
            </p:extLst>
          </p:nvPr>
        </p:nvGraphicFramePr>
        <p:xfrm>
          <a:off x="760802" y="725953"/>
          <a:ext cx="7801589" cy="67082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84680">
                  <a:extLst>
                    <a:ext uri="{9D8B030D-6E8A-4147-A177-3AD203B41FA5}">
                      <a16:colId xmlns:a16="http://schemas.microsoft.com/office/drawing/2014/main" val="3768218586"/>
                    </a:ext>
                  </a:extLst>
                </a:gridCol>
                <a:gridCol w="184680">
                  <a:extLst>
                    <a:ext uri="{9D8B030D-6E8A-4147-A177-3AD203B41FA5}">
                      <a16:colId xmlns:a16="http://schemas.microsoft.com/office/drawing/2014/main" val="1998560472"/>
                    </a:ext>
                  </a:extLst>
                </a:gridCol>
                <a:gridCol w="184680">
                  <a:extLst>
                    <a:ext uri="{9D8B030D-6E8A-4147-A177-3AD203B41FA5}">
                      <a16:colId xmlns:a16="http://schemas.microsoft.com/office/drawing/2014/main" val="2322278984"/>
                    </a:ext>
                  </a:extLst>
                </a:gridCol>
                <a:gridCol w="184680">
                  <a:extLst>
                    <a:ext uri="{9D8B030D-6E8A-4147-A177-3AD203B41FA5}">
                      <a16:colId xmlns:a16="http://schemas.microsoft.com/office/drawing/2014/main" val="3569362569"/>
                    </a:ext>
                  </a:extLst>
                </a:gridCol>
                <a:gridCol w="184680">
                  <a:extLst>
                    <a:ext uri="{9D8B030D-6E8A-4147-A177-3AD203B41FA5}">
                      <a16:colId xmlns:a16="http://schemas.microsoft.com/office/drawing/2014/main" val="4133709417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562710006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2421942159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1820439079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340224160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1228057183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1090542394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2239852720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745115978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2566563150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1319776491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14320951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1350996815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3381886212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3194010823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5686699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2742516052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3600323367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3871138415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2286650385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1732652077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1536562194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59340783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962585128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4143461237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3575564908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1134445225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91012782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4033633960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2711447970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2116844653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1731139921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4246657897"/>
                    </a:ext>
                  </a:extLst>
                </a:gridCol>
                <a:gridCol w="185897">
                  <a:extLst>
                    <a:ext uri="{9D8B030D-6E8A-4147-A177-3AD203B41FA5}">
                      <a16:colId xmlns:a16="http://schemas.microsoft.com/office/drawing/2014/main" val="2724455691"/>
                    </a:ext>
                  </a:extLst>
                </a:gridCol>
                <a:gridCol w="171677">
                  <a:extLst>
                    <a:ext uri="{9D8B030D-6E8A-4147-A177-3AD203B41FA5}">
                      <a16:colId xmlns:a16="http://schemas.microsoft.com/office/drawing/2014/main" val="991089122"/>
                    </a:ext>
                  </a:extLst>
                </a:gridCol>
                <a:gridCol w="200117">
                  <a:extLst>
                    <a:ext uri="{9D8B030D-6E8A-4147-A177-3AD203B41FA5}">
                      <a16:colId xmlns:a16="http://schemas.microsoft.com/office/drawing/2014/main" val="1420531309"/>
                    </a:ext>
                  </a:extLst>
                </a:gridCol>
                <a:gridCol w="226886">
                  <a:extLst>
                    <a:ext uri="{9D8B030D-6E8A-4147-A177-3AD203B41FA5}">
                      <a16:colId xmlns:a16="http://schemas.microsoft.com/office/drawing/2014/main" val="2673079585"/>
                    </a:ext>
                  </a:extLst>
                </a:gridCol>
                <a:gridCol w="144908">
                  <a:extLst>
                    <a:ext uri="{9D8B030D-6E8A-4147-A177-3AD203B41FA5}">
                      <a16:colId xmlns:a16="http://schemas.microsoft.com/office/drawing/2014/main" val="975370134"/>
                    </a:ext>
                  </a:extLst>
                </a:gridCol>
              </a:tblGrid>
              <a:tr h="217297">
                <a:tc gridSpan="4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年</a:t>
                      </a:r>
                      <a:r>
                        <a:rPr lang="en-US" altLang="zh-CN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9</a:t>
                      </a:r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月</a:t>
                      </a:r>
                    </a:p>
                  </a:txBody>
                  <a:tcPr marL="9156" marR="9156" marT="9156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0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0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0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0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3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4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5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6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extLst>
                  <a:ext uri="{0D108BD9-81ED-4DB2-BD59-A6C34878D82A}">
                    <a16:rowId xmlns:a16="http://schemas.microsoft.com/office/drawing/2014/main" val="918962282"/>
                  </a:ext>
                </a:extLst>
              </a:tr>
              <a:tr h="45352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</a:t>
                      </a:r>
                      <a:r>
                        <a:rPr lang="en-US" altLang="zh-CN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 </a:t>
                      </a:r>
                      <a:r>
                        <a:rPr lang="en-US" altLang="zh-CN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 </a:t>
                      </a:r>
                      <a:r>
                        <a:rPr lang="en-US" altLang="zh-CN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 </a:t>
                      </a:r>
                      <a:r>
                        <a:rPr lang="en-US" altLang="zh-CN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extLst>
                  <a:ext uri="{0D108BD9-81ED-4DB2-BD59-A6C34878D82A}">
                    <a16:rowId xmlns:a16="http://schemas.microsoft.com/office/drawing/2014/main" val="991405008"/>
                  </a:ext>
                </a:extLst>
              </a:tr>
            </a:tbl>
          </a:graphicData>
        </a:graphic>
      </p:graphicFrame>
      <p:grpSp>
        <p:nvGrpSpPr>
          <p:cNvPr id="168" name="Group 4"/>
          <p:cNvGrpSpPr/>
          <p:nvPr/>
        </p:nvGrpSpPr>
        <p:grpSpPr>
          <a:xfrm>
            <a:off x="1315061" y="2368191"/>
            <a:ext cx="2556147" cy="360000"/>
            <a:chOff x="2352465" y="1507074"/>
            <a:chExt cx="5721139" cy="298584"/>
          </a:xfrm>
        </p:grpSpPr>
        <p:grpSp>
          <p:nvGrpSpPr>
            <p:cNvPr id="169" name="组合 96">
              <a:extLst>
                <a:ext uri="{FF2B5EF4-FFF2-40B4-BE49-F238E27FC236}">
                  <a16:creationId xmlns:a16="http://schemas.microsoft.com/office/drawing/2014/main" id="{9CB9F5C2-57F6-4BC9-B1AA-6745AE2B30F0}"/>
                </a:ext>
              </a:extLst>
            </p:cNvPr>
            <p:cNvGrpSpPr/>
            <p:nvPr/>
          </p:nvGrpSpPr>
          <p:grpSpPr>
            <a:xfrm>
              <a:off x="2352465" y="1507074"/>
              <a:ext cx="5721139" cy="298584"/>
              <a:chOff x="1283339" y="1272119"/>
              <a:chExt cx="10286227" cy="309711"/>
            </a:xfrm>
          </p:grpSpPr>
          <p:sp>
            <p:nvSpPr>
              <p:cNvPr id="171" name="Rectangle 35">
                <a:extLst>
                  <a:ext uri="{FF2B5EF4-FFF2-40B4-BE49-F238E27FC236}">
                    <a16:creationId xmlns:a16="http://schemas.microsoft.com/office/drawing/2014/main" id="{0BC03C2F-1A18-440F-89FF-A44EEBF1422F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 bwMode="auto">
              <a:xfrm>
                <a:off x="1283339" y="1272119"/>
                <a:ext cx="10286227" cy="309711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sp>
            <p:nvSpPr>
              <p:cNvPr id="172" name="TextBox 73">
                <a:extLst>
                  <a:ext uri="{FF2B5EF4-FFF2-40B4-BE49-F238E27FC236}">
                    <a16:creationId xmlns:a16="http://schemas.microsoft.com/office/drawing/2014/main" id="{98FDC0E4-FC81-4705-9F75-B4DE1521CBE6}"/>
                  </a:ext>
                </a:extLst>
              </p:cNvPr>
              <p:cNvSpPr txBox="1"/>
              <p:nvPr/>
            </p:nvSpPr>
            <p:spPr>
              <a:xfrm>
                <a:off x="2314120" y="1354160"/>
                <a:ext cx="9085093" cy="1456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7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 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反向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支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付模型标准建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设   </a:t>
                </a:r>
                <a:r>
                  <a:rPr lang="en-US" altLang="zh-CN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~12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月底 </a:t>
                </a:r>
                <a:endParaRPr lang="zh-CN" altLang="en-US" sz="10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</p:grpSp>
        <p:sp>
          <p:nvSpPr>
            <p:cNvPr id="170" name="Oval 73">
              <a:extLst>
                <a:ext uri="{FF2B5EF4-FFF2-40B4-BE49-F238E27FC236}">
                  <a16:creationId xmlns:a16="http://schemas.microsoft.com/office/drawing/2014/main" id="{B3D91997-159A-40B3-8077-36CDD20F8BCB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auto">
            <a:xfrm>
              <a:off x="2401087" y="1581720"/>
              <a:ext cx="402874" cy="149292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>
              <a:prstTxWarp prst="textNoShape">
                <a:avLst/>
              </a:prstTxWarp>
            </a:bodyPr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 smtClean="0">
                  <a:solidFill>
                    <a:prstClr val="white"/>
                  </a:solidFill>
                  <a:ea typeface="微软雅黑" panose="020B0503020204020204" pitchFamily="34" charset="-122"/>
                </a:rPr>
                <a:t>3</a:t>
              </a:r>
              <a:endParaRPr lang="en-US" sz="1200" b="1" kern="0" dirty="0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</p:grpSp>
      <p:grpSp>
        <p:nvGrpSpPr>
          <p:cNvPr id="173" name="组合 39"/>
          <p:cNvGrpSpPr/>
          <p:nvPr/>
        </p:nvGrpSpPr>
        <p:grpSpPr>
          <a:xfrm>
            <a:off x="1315061" y="1491625"/>
            <a:ext cx="1064242" cy="359999"/>
            <a:chOff x="3615616" y="3589396"/>
            <a:chExt cx="882174" cy="327272"/>
          </a:xfrm>
        </p:grpSpPr>
        <p:grpSp>
          <p:nvGrpSpPr>
            <p:cNvPr id="174" name="组合 96">
              <a:extLst>
                <a:ext uri="{FF2B5EF4-FFF2-40B4-BE49-F238E27FC236}">
                  <a16:creationId xmlns:a16="http://schemas.microsoft.com/office/drawing/2014/main" id="{9CB9F5C2-57F6-4BC9-B1AA-6745AE2B30F0}"/>
                </a:ext>
              </a:extLst>
            </p:cNvPr>
            <p:cNvGrpSpPr/>
            <p:nvPr/>
          </p:nvGrpSpPr>
          <p:grpSpPr>
            <a:xfrm>
              <a:off x="3615616" y="3589396"/>
              <a:ext cx="882174" cy="327272"/>
              <a:chOff x="1283344" y="1272120"/>
              <a:chExt cx="959268" cy="309710"/>
            </a:xfrm>
          </p:grpSpPr>
          <p:sp>
            <p:nvSpPr>
              <p:cNvPr id="184" name="Rectangle 35">
                <a:extLst>
                  <a:ext uri="{FF2B5EF4-FFF2-40B4-BE49-F238E27FC236}">
                    <a16:creationId xmlns:a16="http://schemas.microsoft.com/office/drawing/2014/main" id="{0BC03C2F-1A18-440F-89FF-A44EEBF1422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 bwMode="auto">
              <a:xfrm>
                <a:off x="1283344" y="1272120"/>
                <a:ext cx="840133" cy="309710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sp>
            <p:nvSpPr>
              <p:cNvPr id="185" name="TextBox 73">
                <a:extLst>
                  <a:ext uri="{FF2B5EF4-FFF2-40B4-BE49-F238E27FC236}">
                    <a16:creationId xmlns:a16="http://schemas.microsoft.com/office/drawing/2014/main" id="{98FDC0E4-FC81-4705-9F75-B4DE1521CBE6}"/>
                  </a:ext>
                </a:extLst>
              </p:cNvPr>
              <p:cNvSpPr txBox="1"/>
              <p:nvPr/>
            </p:nvSpPr>
            <p:spPr>
              <a:xfrm>
                <a:off x="1545970" y="1292521"/>
                <a:ext cx="696642" cy="26213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zh-CN" altLang="en-US" sz="900" b="1" dirty="0" smtClean="0">
                    <a:solidFill>
                      <a:schemeClr val="bg1"/>
                    </a:solidFill>
                    <a:ea typeface="微软雅黑" panose="020B0503020204020204" pitchFamily="34" charset="-122"/>
                    <a:cs typeface="Arial" pitchFamily="34" charset="0"/>
                  </a:rPr>
                  <a:t>集成</a:t>
                </a:r>
                <a:endParaRPr lang="en-US" altLang="zh-CN" sz="900" b="1" dirty="0" smtClean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  <a:p>
                <a:r>
                  <a:rPr lang="zh-CN" altLang="en-US" sz="900" b="1" dirty="0" smtClean="0">
                    <a:solidFill>
                      <a:schemeClr val="bg1"/>
                    </a:solidFill>
                    <a:ea typeface="微软雅黑" panose="020B0503020204020204" pitchFamily="34" charset="-122"/>
                    <a:cs typeface="Arial" pitchFamily="34" charset="0"/>
                  </a:rPr>
                  <a:t>风险策略</a:t>
                </a:r>
                <a:r>
                  <a:rPr lang="en-US" altLang="zh-CN" sz="900" b="1" dirty="0" smtClean="0">
                    <a:solidFill>
                      <a:schemeClr val="bg1"/>
                    </a:solidFill>
                    <a:ea typeface="微软雅黑" panose="020B0503020204020204" pitchFamily="34" charset="-122"/>
                    <a:cs typeface="Arial" pitchFamily="34" charset="0"/>
                  </a:rPr>
                  <a:t>1</a:t>
                </a:r>
                <a:endParaRPr lang="zh-CN" altLang="en-US" sz="9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</p:grpSp>
        <p:sp>
          <p:nvSpPr>
            <p:cNvPr id="183" name="Oval 73">
              <a:extLst>
                <a:ext uri="{FF2B5EF4-FFF2-40B4-BE49-F238E27FC236}">
                  <a16:creationId xmlns:a16="http://schemas.microsoft.com/office/drawing/2014/main" id="{B3D91997-159A-40B3-8077-36CDD20F8BCB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auto">
            <a:xfrm>
              <a:off x="3633916" y="3651549"/>
              <a:ext cx="149206" cy="163636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>
              <a:prstTxWarp prst="textNoShape">
                <a:avLst/>
              </a:prstTxWarp>
            </a:bodyPr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anose="020B0503020204020204" pitchFamily="34" charset="-122"/>
                </a:rPr>
                <a:t>1</a:t>
              </a:r>
            </a:p>
          </p:txBody>
        </p:sp>
      </p:grpSp>
      <p:grpSp>
        <p:nvGrpSpPr>
          <p:cNvPr id="186" name="Group 4"/>
          <p:cNvGrpSpPr/>
          <p:nvPr/>
        </p:nvGrpSpPr>
        <p:grpSpPr>
          <a:xfrm>
            <a:off x="1315061" y="1929911"/>
            <a:ext cx="1838416" cy="360000"/>
            <a:chOff x="2352465" y="1507074"/>
            <a:chExt cx="1937776" cy="298584"/>
          </a:xfrm>
        </p:grpSpPr>
        <p:grpSp>
          <p:nvGrpSpPr>
            <p:cNvPr id="187" name="组合 96">
              <a:extLst>
                <a:ext uri="{FF2B5EF4-FFF2-40B4-BE49-F238E27FC236}">
                  <a16:creationId xmlns:a16="http://schemas.microsoft.com/office/drawing/2014/main" id="{9CB9F5C2-57F6-4BC9-B1AA-6745AE2B30F0}"/>
                </a:ext>
              </a:extLst>
            </p:cNvPr>
            <p:cNvGrpSpPr/>
            <p:nvPr/>
          </p:nvGrpSpPr>
          <p:grpSpPr>
            <a:xfrm>
              <a:off x="2352465" y="1507074"/>
              <a:ext cx="1937776" cy="298584"/>
              <a:chOff x="1283342" y="1272119"/>
              <a:chExt cx="3483997" cy="309711"/>
            </a:xfrm>
          </p:grpSpPr>
          <p:sp>
            <p:nvSpPr>
              <p:cNvPr id="189" name="Rectangle 35">
                <a:extLst>
                  <a:ext uri="{FF2B5EF4-FFF2-40B4-BE49-F238E27FC236}">
                    <a16:creationId xmlns:a16="http://schemas.microsoft.com/office/drawing/2014/main" id="{0BC03C2F-1A18-440F-89FF-A44EEBF1422F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 bwMode="auto">
              <a:xfrm>
                <a:off x="1283342" y="1272119"/>
                <a:ext cx="3483997" cy="309711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sp>
            <p:nvSpPr>
              <p:cNvPr id="190" name="TextBox 73">
                <a:extLst>
                  <a:ext uri="{FF2B5EF4-FFF2-40B4-BE49-F238E27FC236}">
                    <a16:creationId xmlns:a16="http://schemas.microsoft.com/office/drawing/2014/main" id="{98FDC0E4-FC81-4705-9F75-B4DE1521CBE6}"/>
                  </a:ext>
                </a:extLst>
              </p:cNvPr>
              <p:cNvSpPr txBox="1"/>
              <p:nvPr/>
            </p:nvSpPr>
            <p:spPr>
              <a:xfrm>
                <a:off x="1789866" y="1354160"/>
                <a:ext cx="2960718" cy="1456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7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 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收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集线下支付数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据  </a:t>
                </a:r>
                <a:r>
                  <a:rPr lang="en-US" altLang="zh-CN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~</a:t>
                </a:r>
                <a:r>
                  <a:rPr lang="en-US" altLang="zh-CN" sz="1000" b="1" dirty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11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月底</a:t>
                </a:r>
              </a:p>
            </p:txBody>
          </p:sp>
        </p:grpSp>
        <p:sp>
          <p:nvSpPr>
            <p:cNvPr id="188" name="Oval 73">
              <a:extLst>
                <a:ext uri="{FF2B5EF4-FFF2-40B4-BE49-F238E27FC236}">
                  <a16:creationId xmlns:a16="http://schemas.microsoft.com/office/drawing/2014/main" id="{B3D91997-159A-40B3-8077-36CDD20F8BCB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auto">
            <a:xfrm>
              <a:off x="2375848" y="1581720"/>
              <a:ext cx="189728" cy="149292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>
              <a:prstTxWarp prst="textNoShape">
                <a:avLst/>
              </a:prstTxWarp>
            </a:bodyPr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anose="020B0503020204020204" pitchFamily="34" charset="-122"/>
                </a:rPr>
                <a:t>2</a:t>
              </a:r>
            </a:p>
          </p:txBody>
        </p:sp>
      </p:grpSp>
      <p:grpSp>
        <p:nvGrpSpPr>
          <p:cNvPr id="191" name="组合 1"/>
          <p:cNvGrpSpPr/>
          <p:nvPr/>
        </p:nvGrpSpPr>
        <p:grpSpPr>
          <a:xfrm>
            <a:off x="1315061" y="3251458"/>
            <a:ext cx="3511786" cy="367596"/>
            <a:chOff x="3446085" y="2981282"/>
            <a:chExt cx="3301236" cy="334178"/>
          </a:xfrm>
        </p:grpSpPr>
        <p:grpSp>
          <p:nvGrpSpPr>
            <p:cNvPr id="192" name="组合 96">
              <a:extLst>
                <a:ext uri="{FF2B5EF4-FFF2-40B4-BE49-F238E27FC236}">
                  <a16:creationId xmlns:a16="http://schemas.microsoft.com/office/drawing/2014/main" id="{9CB9F5C2-57F6-4BC9-B1AA-6745AE2B30F0}"/>
                </a:ext>
              </a:extLst>
            </p:cNvPr>
            <p:cNvGrpSpPr/>
            <p:nvPr/>
          </p:nvGrpSpPr>
          <p:grpSpPr>
            <a:xfrm>
              <a:off x="3446085" y="2981282"/>
              <a:ext cx="3301236" cy="334178"/>
              <a:chOff x="1283341" y="1272120"/>
              <a:chExt cx="4985442" cy="316246"/>
            </a:xfrm>
          </p:grpSpPr>
          <p:sp>
            <p:nvSpPr>
              <p:cNvPr id="194" name="Rectangle 35">
                <a:extLst>
                  <a:ext uri="{FF2B5EF4-FFF2-40B4-BE49-F238E27FC236}">
                    <a16:creationId xmlns:a16="http://schemas.microsoft.com/office/drawing/2014/main" id="{0BC03C2F-1A18-440F-89FF-A44EEBF1422F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 bwMode="auto">
              <a:xfrm>
                <a:off x="1283341" y="1272120"/>
                <a:ext cx="4985442" cy="316246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sp>
            <p:nvSpPr>
              <p:cNvPr id="195" name="TextBox 73">
                <a:extLst>
                  <a:ext uri="{FF2B5EF4-FFF2-40B4-BE49-F238E27FC236}">
                    <a16:creationId xmlns:a16="http://schemas.microsoft.com/office/drawing/2014/main" id="{98FDC0E4-FC81-4705-9F75-B4DE1521CBE6}"/>
                  </a:ext>
                </a:extLst>
              </p:cNvPr>
              <p:cNvSpPr txBox="1"/>
              <p:nvPr/>
            </p:nvSpPr>
            <p:spPr>
              <a:xfrm>
                <a:off x="1742386" y="1357427"/>
                <a:ext cx="3061156" cy="13239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zh-CN" altLang="en-US" sz="1000" b="1" dirty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账单处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理</a:t>
                </a:r>
                <a:r>
                  <a:rPr lang="en-US" altLang="zh-CN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(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不包含百胜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券权益</a:t>
                </a:r>
                <a:r>
                  <a:rPr lang="en-US" altLang="zh-CN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)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    </a:t>
                </a:r>
                <a:r>
                  <a:rPr lang="en-US" altLang="zh-CN" sz="1000" b="1" dirty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~1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月底</a:t>
                </a:r>
              </a:p>
            </p:txBody>
          </p:sp>
        </p:grpSp>
        <p:sp>
          <p:nvSpPr>
            <p:cNvPr id="193" name="Oval 73">
              <a:extLst>
                <a:ext uri="{FF2B5EF4-FFF2-40B4-BE49-F238E27FC236}">
                  <a16:creationId xmlns:a16="http://schemas.microsoft.com/office/drawing/2014/main" id="{B3D91997-159A-40B3-8077-36CDD20F8BCB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auto">
            <a:xfrm>
              <a:off x="3473432" y="3054185"/>
              <a:ext cx="169208" cy="163636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>
              <a:prstTxWarp prst="textNoShape">
                <a:avLst/>
              </a:prstTxWarp>
            </a:bodyPr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anose="020B0503020204020204" pitchFamily="34" charset="-122"/>
                </a:rPr>
                <a:t>4</a:t>
              </a:r>
            </a:p>
          </p:txBody>
        </p:sp>
      </p:grpSp>
      <p:grpSp>
        <p:nvGrpSpPr>
          <p:cNvPr id="196" name="Group 69">
            <a:extLst>
              <a:ext uri="{FF2B5EF4-FFF2-40B4-BE49-F238E27FC236}">
                <a16:creationId xmlns:a16="http://schemas.microsoft.com/office/drawing/2014/main" id="{E893D01F-3FC0-4153-A521-D8DDE2CAD503}"/>
              </a:ext>
            </a:extLst>
          </p:cNvPr>
          <p:cNvGrpSpPr/>
          <p:nvPr/>
        </p:nvGrpSpPr>
        <p:grpSpPr>
          <a:xfrm>
            <a:off x="7774718" y="4587730"/>
            <a:ext cx="844324" cy="205919"/>
            <a:chOff x="6613143" y="3353733"/>
            <a:chExt cx="992130" cy="280673"/>
          </a:xfrm>
        </p:grpSpPr>
        <p:sp>
          <p:nvSpPr>
            <p:cNvPr id="197" name="TextBox 62">
              <a:extLst>
                <a:ext uri="{FF2B5EF4-FFF2-40B4-BE49-F238E27FC236}">
                  <a16:creationId xmlns:a16="http://schemas.microsoft.com/office/drawing/2014/main" id="{B71E0C15-64B5-43B0-B933-721A810ECDA0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613143" y="3357532"/>
              <a:ext cx="992130" cy="2768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发生产</a:t>
              </a:r>
              <a:endParaRPr lang="en-US" altLang="zh-CN" sz="6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98" name="Group 40">
              <a:extLst>
                <a:ext uri="{FF2B5EF4-FFF2-40B4-BE49-F238E27FC236}">
                  <a16:creationId xmlns:a16="http://schemas.microsoft.com/office/drawing/2014/main" id="{DB38FD7F-EB92-423B-9E25-F2DD861522D9}"/>
                </a:ext>
              </a:extLst>
            </p:cNvPr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 rot="-736311">
              <a:off x="6769579" y="3353733"/>
              <a:ext cx="127184" cy="210782"/>
              <a:chOff x="5324" y="2278"/>
              <a:chExt cx="612" cy="1026"/>
            </a:xfrm>
          </p:grpSpPr>
          <p:sp>
            <p:nvSpPr>
              <p:cNvPr id="199" name="AutoShape 41">
                <a:extLst>
                  <a:ext uri="{FF2B5EF4-FFF2-40B4-BE49-F238E27FC236}">
                    <a16:creationId xmlns:a16="http://schemas.microsoft.com/office/drawing/2014/main" id="{A5F5D59F-6C81-4E6E-A7FA-E6EF674D23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711652">
                <a:off x="5355" y="2278"/>
                <a:ext cx="581" cy="502"/>
              </a:xfrm>
              <a:prstGeom prst="flowChartPunchedTape">
                <a:avLst/>
              </a:prstGeom>
              <a:solidFill>
                <a:srgbClr val="FF0000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0" name="Line 42">
                <a:extLst>
                  <a:ext uri="{FF2B5EF4-FFF2-40B4-BE49-F238E27FC236}">
                    <a16:creationId xmlns:a16="http://schemas.microsoft.com/office/drawing/2014/main" id="{CAE29898-FC78-482E-B639-6E9C223F6C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711652">
                <a:off x="5324" y="2317"/>
                <a:ext cx="5" cy="98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201" name="Group 40"/>
          <p:cNvGrpSpPr/>
          <p:nvPr/>
        </p:nvGrpSpPr>
        <p:grpSpPr>
          <a:xfrm>
            <a:off x="2225986" y="2806471"/>
            <a:ext cx="2615574" cy="367596"/>
            <a:chOff x="3439902" y="4018203"/>
            <a:chExt cx="3199544" cy="334178"/>
          </a:xfrm>
        </p:grpSpPr>
        <p:sp>
          <p:nvSpPr>
            <p:cNvPr id="202" name="Rectangle 35">
              <a:extLst>
                <a:ext uri="{FF2B5EF4-FFF2-40B4-BE49-F238E27FC236}">
                  <a16:creationId xmlns:a16="http://schemas.microsoft.com/office/drawing/2014/main" id="{0BC03C2F-1A18-440F-89FF-A44EEBF1422F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auto">
            <a:xfrm>
              <a:off x="3439902" y="4018203"/>
              <a:ext cx="3199544" cy="334178"/>
            </a:xfrm>
            <a:prstGeom prst="rect">
              <a:avLst/>
            </a:prstGeom>
            <a:solidFill>
              <a:srgbClr val="C00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>
              <a:prstTxWarp prst="textNoShape">
                <a:avLst/>
              </a:prstTxWarp>
            </a:bodyPr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800" b="1" dirty="0">
                <a:solidFill>
                  <a:prstClr val="white"/>
                </a:solidFill>
                <a:ea typeface="微软雅黑" panose="020B0503020204020204" pitchFamily="34" charset="-122"/>
                <a:cs typeface="Arial" pitchFamily="34" charset="0"/>
              </a:endParaRPr>
            </a:p>
          </p:txBody>
        </p:sp>
        <p:sp>
          <p:nvSpPr>
            <p:cNvPr id="203" name="TextBox 73">
              <a:extLst>
                <a:ext uri="{FF2B5EF4-FFF2-40B4-BE49-F238E27FC236}">
                  <a16:creationId xmlns:a16="http://schemas.microsoft.com/office/drawing/2014/main" id="{98FDC0E4-FC81-4705-9F75-B4DE1521CBE6}"/>
                </a:ext>
              </a:extLst>
            </p:cNvPr>
            <p:cNvSpPr txBox="1"/>
            <p:nvPr/>
          </p:nvSpPr>
          <p:spPr>
            <a:xfrm>
              <a:off x="3780371" y="4108348"/>
              <a:ext cx="201835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sz="10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新旧系统流</a:t>
              </a:r>
              <a:r>
                <a:rPr lang="zh-CN" altLang="en-US" sz="1000" b="1" dirty="0" smtClean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量</a:t>
              </a:r>
              <a:r>
                <a:rPr lang="zh-CN" altLang="en-US" sz="10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切</a:t>
              </a:r>
              <a:r>
                <a:rPr lang="zh-CN" altLang="en-US" sz="1000" b="1" dirty="0" smtClean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换   </a:t>
              </a:r>
              <a:r>
                <a:rPr lang="en-US" altLang="zh-CN" sz="1000" b="1" dirty="0" smtClean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~1</a:t>
              </a:r>
              <a:r>
                <a:rPr lang="zh-CN" altLang="en-US" sz="1000" b="1" dirty="0" smtClean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月</a:t>
              </a:r>
              <a:r>
                <a:rPr lang="zh-CN" altLang="en-US" sz="10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底</a:t>
              </a:r>
            </a:p>
          </p:txBody>
        </p:sp>
        <p:sp>
          <p:nvSpPr>
            <p:cNvPr id="204" name="Oval 73">
              <a:extLst>
                <a:ext uri="{FF2B5EF4-FFF2-40B4-BE49-F238E27FC236}">
                  <a16:creationId xmlns:a16="http://schemas.microsoft.com/office/drawing/2014/main" id="{B3D91997-159A-40B3-8077-36CDD20F8BCB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auto">
            <a:xfrm>
              <a:off x="3481509" y="4103474"/>
              <a:ext cx="220146" cy="163636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 smtClean="0">
                  <a:solidFill>
                    <a:prstClr val="white"/>
                  </a:solidFill>
                  <a:ea typeface="微软雅黑" panose="020B0503020204020204" pitchFamily="34" charset="-122"/>
                </a:rPr>
                <a:t>7</a:t>
              </a:r>
              <a:endParaRPr lang="en-US" sz="1200" b="1" kern="0" dirty="0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</p:grpSp>
      <p:grpSp>
        <p:nvGrpSpPr>
          <p:cNvPr id="205" name="Group 38"/>
          <p:cNvGrpSpPr/>
          <p:nvPr/>
        </p:nvGrpSpPr>
        <p:grpSpPr>
          <a:xfrm>
            <a:off x="1315059" y="3683028"/>
            <a:ext cx="6501350" cy="360000"/>
            <a:chOff x="610055" y="2114549"/>
            <a:chExt cx="3566110" cy="327273"/>
          </a:xfrm>
        </p:grpSpPr>
        <p:sp>
          <p:nvSpPr>
            <p:cNvPr id="206" name="Rectangle 35">
              <a:extLst>
                <a:ext uri="{FF2B5EF4-FFF2-40B4-BE49-F238E27FC236}">
                  <a16:creationId xmlns:a16="http://schemas.microsoft.com/office/drawing/2014/main" id="{0BC03C2F-1A18-440F-89FF-A44EEBF1422F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610055" y="2114549"/>
              <a:ext cx="3566110" cy="327273"/>
            </a:xfrm>
            <a:prstGeom prst="rect">
              <a:avLst/>
            </a:prstGeom>
            <a:solidFill>
              <a:srgbClr val="C00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>
              <a:prstTxWarp prst="textNoShape">
                <a:avLst/>
              </a:prstTxWarp>
            </a:bodyPr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800" b="1" dirty="0">
                <a:solidFill>
                  <a:prstClr val="white"/>
                </a:solidFill>
                <a:ea typeface="微软雅黑" panose="020B0503020204020204" pitchFamily="34" charset="-122"/>
                <a:cs typeface="Arial" pitchFamily="34" charset="0"/>
              </a:endParaRPr>
            </a:p>
          </p:txBody>
        </p:sp>
        <p:sp>
          <p:nvSpPr>
            <p:cNvPr id="207" name="TextBox 73">
              <a:extLst>
                <a:ext uri="{FF2B5EF4-FFF2-40B4-BE49-F238E27FC236}">
                  <a16:creationId xmlns:a16="http://schemas.microsoft.com/office/drawing/2014/main" id="{98FDC0E4-FC81-4705-9F75-B4DE1521CBE6}"/>
                </a:ext>
              </a:extLst>
            </p:cNvPr>
            <p:cNvSpPr txBox="1"/>
            <p:nvPr/>
          </p:nvSpPr>
          <p:spPr>
            <a:xfrm>
              <a:off x="772827" y="2208236"/>
              <a:ext cx="1539724" cy="1398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sz="10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百胜数字资产管</a:t>
              </a:r>
              <a:r>
                <a:rPr lang="zh-CN" altLang="en-US" sz="1000" b="1" dirty="0" smtClean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理    </a:t>
              </a:r>
              <a:r>
                <a:rPr lang="en-US" altLang="zh-CN" sz="1000" b="1" dirty="0" smtClean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~</a:t>
              </a:r>
              <a:r>
                <a:rPr lang="en-US" altLang="zh-CN" sz="1000" b="1" dirty="0" smtClean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5</a:t>
              </a:r>
              <a:r>
                <a:rPr lang="zh-CN" altLang="en-US" sz="1000" b="1" dirty="0" smtClean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月</a:t>
              </a:r>
              <a:r>
                <a:rPr lang="zh-CN" altLang="en-US" sz="10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rPr>
                <a:t>底</a:t>
              </a:r>
            </a:p>
          </p:txBody>
        </p:sp>
        <p:sp>
          <p:nvSpPr>
            <p:cNvPr id="208" name="Oval 73">
              <a:extLst>
                <a:ext uri="{FF2B5EF4-FFF2-40B4-BE49-F238E27FC236}">
                  <a16:creationId xmlns:a16="http://schemas.microsoft.com/office/drawing/2014/main" id="{B3D91997-159A-40B3-8077-36CDD20F8BCB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auto">
            <a:xfrm>
              <a:off x="628358" y="2196368"/>
              <a:ext cx="98733" cy="163636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>
              <a:prstTxWarp prst="textNoShape">
                <a:avLst/>
              </a:prstTxWarp>
            </a:bodyPr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 smtClean="0">
                  <a:solidFill>
                    <a:prstClr val="white"/>
                  </a:solidFill>
                  <a:ea typeface="微软雅黑" panose="020B0503020204020204" pitchFamily="34" charset="-122"/>
                </a:rPr>
                <a:t>5</a:t>
              </a:r>
              <a:endParaRPr lang="en-US" sz="1200" b="1" kern="0" dirty="0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</p:grpSp>
      <p:sp>
        <p:nvSpPr>
          <p:cNvPr id="209" name="Chevron 104">
            <a:extLst>
              <a:ext uri="{FF2B5EF4-FFF2-40B4-BE49-F238E27FC236}">
                <a16:creationId xmlns:a16="http://schemas.microsoft.com/office/drawing/2014/main" id="{93446750-7995-40D8-A959-5E97DD96DD6E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6330565" y="4552439"/>
            <a:ext cx="733347" cy="288955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SAAS</a:t>
            </a: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集成</a:t>
            </a:r>
            <a:endParaRPr lang="en-US" altLang="zh-CN" sz="7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0" name="Chevron 104">
            <a:extLst>
              <a:ext uri="{FF2B5EF4-FFF2-40B4-BE49-F238E27FC236}">
                <a16:creationId xmlns:a16="http://schemas.microsoft.com/office/drawing/2014/main" id="{93446750-7995-40D8-A959-5E97DD96DD6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065651" y="4552440"/>
            <a:ext cx="750759" cy="288952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测试联调</a:t>
            </a:r>
            <a:endParaRPr lang="en-US" altLang="zh-CN" sz="7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11" name="组合 39"/>
          <p:cNvGrpSpPr/>
          <p:nvPr/>
        </p:nvGrpSpPr>
        <p:grpSpPr>
          <a:xfrm>
            <a:off x="3144202" y="1491623"/>
            <a:ext cx="2423864" cy="359999"/>
            <a:chOff x="3321437" y="3589391"/>
            <a:chExt cx="1876688" cy="327272"/>
          </a:xfrm>
        </p:grpSpPr>
        <p:grpSp>
          <p:nvGrpSpPr>
            <p:cNvPr id="212" name="组合 96">
              <a:extLst>
                <a:ext uri="{FF2B5EF4-FFF2-40B4-BE49-F238E27FC236}">
                  <a16:creationId xmlns:a16="http://schemas.microsoft.com/office/drawing/2014/main" id="{9CB9F5C2-57F6-4BC9-B1AA-6745AE2B30F0}"/>
                </a:ext>
              </a:extLst>
            </p:cNvPr>
            <p:cNvGrpSpPr/>
            <p:nvPr/>
          </p:nvGrpSpPr>
          <p:grpSpPr>
            <a:xfrm>
              <a:off x="3321437" y="3589391"/>
              <a:ext cx="1876688" cy="327272"/>
              <a:chOff x="963458" y="1272120"/>
              <a:chExt cx="2040695" cy="309711"/>
            </a:xfrm>
          </p:grpSpPr>
          <p:sp>
            <p:nvSpPr>
              <p:cNvPr id="214" name="Rectangle 35">
                <a:extLst>
                  <a:ext uri="{FF2B5EF4-FFF2-40B4-BE49-F238E27FC236}">
                    <a16:creationId xmlns:a16="http://schemas.microsoft.com/office/drawing/2014/main" id="{0BC03C2F-1A18-440F-89FF-A44EEBF1422F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 bwMode="auto">
              <a:xfrm>
                <a:off x="963458" y="1272120"/>
                <a:ext cx="2040695" cy="309711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sp>
            <p:nvSpPr>
              <p:cNvPr id="215" name="TextBox 73">
                <a:extLst>
                  <a:ext uri="{FF2B5EF4-FFF2-40B4-BE49-F238E27FC236}">
                    <a16:creationId xmlns:a16="http://schemas.microsoft.com/office/drawing/2014/main" id="{98FDC0E4-FC81-4705-9F75-B4DE1521CBE6}"/>
                  </a:ext>
                </a:extLst>
              </p:cNvPr>
              <p:cNvSpPr txBox="1"/>
              <p:nvPr/>
            </p:nvSpPr>
            <p:spPr>
              <a:xfrm>
                <a:off x="1237423" y="1347820"/>
                <a:ext cx="1663442" cy="1456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zh-CN" altLang="en-US" sz="1000" b="1" dirty="0">
                    <a:solidFill>
                      <a:schemeClr val="bg1"/>
                    </a:solidFill>
                    <a:ea typeface="微软雅黑" panose="020B0503020204020204" pitchFamily="34" charset="-122"/>
                    <a:cs typeface="Arial" pitchFamily="34" charset="0"/>
                  </a:rPr>
                  <a:t>集成风险策</a:t>
                </a:r>
                <a:r>
                  <a:rPr lang="zh-CN" altLang="en-US" sz="1000" b="1" dirty="0" smtClean="0">
                    <a:solidFill>
                      <a:schemeClr val="bg1"/>
                    </a:solidFill>
                    <a:ea typeface="微软雅黑" panose="020B0503020204020204" pitchFamily="34" charset="-122"/>
                    <a:cs typeface="Arial" pitchFamily="34" charset="0"/>
                  </a:rPr>
                  <a:t>略</a:t>
                </a:r>
                <a:r>
                  <a:rPr lang="en-US" altLang="zh-CN" sz="1000" b="1" dirty="0" smtClean="0">
                    <a:solidFill>
                      <a:schemeClr val="bg1"/>
                    </a:solidFill>
                    <a:ea typeface="微软雅黑" panose="020B0503020204020204" pitchFamily="34" charset="-122"/>
                    <a:cs typeface="Arial" pitchFamily="34" charset="0"/>
                  </a:rPr>
                  <a:t>2             ~2</a:t>
                </a:r>
                <a:r>
                  <a:rPr lang="zh-CN" altLang="en-US" sz="1000" b="1" dirty="0" smtClean="0">
                    <a:solidFill>
                      <a:schemeClr val="bg1"/>
                    </a:solidFill>
                    <a:ea typeface="微软雅黑" panose="020B0503020204020204" pitchFamily="34" charset="-122"/>
                    <a:cs typeface="Arial" pitchFamily="34" charset="0"/>
                  </a:rPr>
                  <a:t>月底</a:t>
                </a:r>
                <a:endParaRPr lang="zh-CN" altLang="en-US" sz="10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</p:grpSp>
        <p:sp>
          <p:nvSpPr>
            <p:cNvPr id="213" name="Oval 73">
              <a:extLst>
                <a:ext uri="{FF2B5EF4-FFF2-40B4-BE49-F238E27FC236}">
                  <a16:creationId xmlns:a16="http://schemas.microsoft.com/office/drawing/2014/main" id="{B3D91997-159A-40B3-8077-36CDD20F8BC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3363761" y="3655494"/>
              <a:ext cx="139366" cy="163636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>
              <a:prstTxWarp prst="textNoShape">
                <a:avLst/>
              </a:prstTxWarp>
            </a:bodyPr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 smtClean="0">
                  <a:solidFill>
                    <a:prstClr val="white"/>
                  </a:solidFill>
                  <a:ea typeface="微软雅黑" panose="020B0503020204020204" pitchFamily="34" charset="-122"/>
                </a:rPr>
                <a:t>8</a:t>
              </a:r>
              <a:endParaRPr lang="en-US" sz="1200" b="1" kern="0" dirty="0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</p:grpSp>
      <p:grpSp>
        <p:nvGrpSpPr>
          <p:cNvPr id="94" name="Group 4"/>
          <p:cNvGrpSpPr/>
          <p:nvPr/>
        </p:nvGrpSpPr>
        <p:grpSpPr>
          <a:xfrm>
            <a:off x="1315061" y="4121314"/>
            <a:ext cx="6501348" cy="360000"/>
            <a:chOff x="2352465" y="1507074"/>
            <a:chExt cx="6091860" cy="298584"/>
          </a:xfrm>
        </p:grpSpPr>
        <p:grpSp>
          <p:nvGrpSpPr>
            <p:cNvPr id="95" name="组合 96">
              <a:extLst>
                <a:ext uri="{FF2B5EF4-FFF2-40B4-BE49-F238E27FC236}">
                  <a16:creationId xmlns:a16="http://schemas.microsoft.com/office/drawing/2014/main" id="{9CB9F5C2-57F6-4BC9-B1AA-6745AE2B30F0}"/>
                </a:ext>
              </a:extLst>
            </p:cNvPr>
            <p:cNvGrpSpPr/>
            <p:nvPr/>
          </p:nvGrpSpPr>
          <p:grpSpPr>
            <a:xfrm>
              <a:off x="2352465" y="1507074"/>
              <a:ext cx="6091860" cy="298584"/>
              <a:chOff x="1283339" y="1272119"/>
              <a:chExt cx="10952758" cy="309711"/>
            </a:xfrm>
          </p:grpSpPr>
          <p:sp>
            <p:nvSpPr>
              <p:cNvPr id="97" name="Rectangle 35">
                <a:extLst>
                  <a:ext uri="{FF2B5EF4-FFF2-40B4-BE49-F238E27FC236}">
                    <a16:creationId xmlns:a16="http://schemas.microsoft.com/office/drawing/2014/main" id="{0BC03C2F-1A18-440F-89FF-A44EEBF1422F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1283339" y="1272119"/>
                <a:ext cx="10952758" cy="309711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sp>
            <p:nvSpPr>
              <p:cNvPr id="98" name="TextBox 73">
                <a:extLst>
                  <a:ext uri="{FF2B5EF4-FFF2-40B4-BE49-F238E27FC236}">
                    <a16:creationId xmlns:a16="http://schemas.microsoft.com/office/drawing/2014/main" id="{98FDC0E4-FC81-4705-9F75-B4DE1521CBE6}"/>
                  </a:ext>
                </a:extLst>
              </p:cNvPr>
              <p:cNvSpPr txBox="1"/>
              <p:nvPr/>
            </p:nvSpPr>
            <p:spPr>
              <a:xfrm>
                <a:off x="1757369" y="1354160"/>
                <a:ext cx="3315253" cy="1456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7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 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正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向支付模型标准建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设   </a:t>
                </a:r>
                <a:r>
                  <a:rPr lang="en-US" altLang="zh-CN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~5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月底 </a:t>
                </a:r>
                <a:endParaRPr lang="zh-CN" altLang="en-US" sz="10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</p:grpSp>
        <p:sp>
          <p:nvSpPr>
            <p:cNvPr id="96" name="Oval 73">
              <a:extLst>
                <a:ext uri="{FF2B5EF4-FFF2-40B4-BE49-F238E27FC236}">
                  <a16:creationId xmlns:a16="http://schemas.microsoft.com/office/drawing/2014/main" id="{B3D91997-159A-40B3-8077-36CDD20F8BCB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377057" y="1581720"/>
              <a:ext cx="168663" cy="149292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 smtClean="0">
                  <a:solidFill>
                    <a:prstClr val="white"/>
                  </a:solidFill>
                  <a:ea typeface="微软雅黑" panose="020B0503020204020204" pitchFamily="34" charset="-122"/>
                </a:rPr>
                <a:t>6</a:t>
              </a:r>
              <a:endParaRPr lang="en-US" sz="1200" b="1" kern="0" dirty="0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</p:grpSp>
      <p:grpSp>
        <p:nvGrpSpPr>
          <p:cNvPr id="99" name="组合 1"/>
          <p:cNvGrpSpPr/>
          <p:nvPr/>
        </p:nvGrpSpPr>
        <p:grpSpPr>
          <a:xfrm>
            <a:off x="5023322" y="3251452"/>
            <a:ext cx="2793088" cy="359999"/>
            <a:chOff x="3446085" y="2981280"/>
            <a:chExt cx="3339225" cy="327272"/>
          </a:xfrm>
        </p:grpSpPr>
        <p:grpSp>
          <p:nvGrpSpPr>
            <p:cNvPr id="100" name="组合 96">
              <a:extLst>
                <a:ext uri="{FF2B5EF4-FFF2-40B4-BE49-F238E27FC236}">
                  <a16:creationId xmlns:a16="http://schemas.microsoft.com/office/drawing/2014/main" id="{9CB9F5C2-57F6-4BC9-B1AA-6745AE2B30F0}"/>
                </a:ext>
              </a:extLst>
            </p:cNvPr>
            <p:cNvGrpSpPr/>
            <p:nvPr/>
          </p:nvGrpSpPr>
          <p:grpSpPr>
            <a:xfrm>
              <a:off x="3446085" y="2981280"/>
              <a:ext cx="3339225" cy="327272"/>
              <a:chOff x="1283341" y="1272120"/>
              <a:chExt cx="5042813" cy="309711"/>
            </a:xfrm>
          </p:grpSpPr>
          <p:sp>
            <p:nvSpPr>
              <p:cNvPr id="102" name="Rectangle 35">
                <a:extLst>
                  <a:ext uri="{FF2B5EF4-FFF2-40B4-BE49-F238E27FC236}">
                    <a16:creationId xmlns:a16="http://schemas.microsoft.com/office/drawing/2014/main" id="{0BC03C2F-1A18-440F-89FF-A44EEBF1422F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1283341" y="1272120"/>
                <a:ext cx="5042813" cy="309711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sp>
            <p:nvSpPr>
              <p:cNvPr id="103" name="TextBox 73">
                <a:extLst>
                  <a:ext uri="{FF2B5EF4-FFF2-40B4-BE49-F238E27FC236}">
                    <a16:creationId xmlns:a16="http://schemas.microsoft.com/office/drawing/2014/main" id="{98FDC0E4-FC81-4705-9F75-B4DE1521CBE6}"/>
                  </a:ext>
                </a:extLst>
              </p:cNvPr>
              <p:cNvSpPr txBox="1"/>
              <p:nvPr/>
            </p:nvSpPr>
            <p:spPr>
              <a:xfrm>
                <a:off x="1742383" y="1360780"/>
                <a:ext cx="3773153" cy="13239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zh-CN" altLang="en-US" sz="1000" b="1" dirty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账单处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理</a:t>
                </a:r>
                <a:r>
                  <a:rPr lang="en-US" altLang="zh-CN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(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全渠道账单数据</a:t>
                </a:r>
                <a:r>
                  <a:rPr lang="en-US" altLang="zh-CN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)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    </a:t>
                </a:r>
                <a:r>
                  <a:rPr lang="en-US" altLang="zh-CN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~5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月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底</a:t>
                </a:r>
              </a:p>
            </p:txBody>
          </p:sp>
        </p:grpSp>
        <p:sp>
          <p:nvSpPr>
            <p:cNvPr id="101" name="Oval 73">
              <a:extLst>
                <a:ext uri="{FF2B5EF4-FFF2-40B4-BE49-F238E27FC236}">
                  <a16:creationId xmlns:a16="http://schemas.microsoft.com/office/drawing/2014/main" id="{B3D91997-159A-40B3-8077-36CDD20F8BCB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3470493" y="3063097"/>
              <a:ext cx="215196" cy="163636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>
              <a:prstTxWarp prst="textNoShape">
                <a:avLst/>
              </a:prstTxWarp>
            </a:bodyPr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 smtClean="0">
                  <a:solidFill>
                    <a:prstClr val="white"/>
                  </a:solidFill>
                  <a:ea typeface="微软雅黑" panose="020B0503020204020204" pitchFamily="34" charset="-122"/>
                </a:rPr>
                <a:t>9</a:t>
              </a:r>
              <a:endParaRPr lang="en-US" sz="1200" b="1" kern="0" dirty="0">
                <a:solidFill>
                  <a:prstClr val="white"/>
                </a:solidFill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086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>
            <a:extLst>
              <a:ext uri="{FF2B5EF4-FFF2-40B4-BE49-F238E27FC236}">
                <a16:creationId xmlns:a16="http://schemas.microsoft.com/office/drawing/2014/main" id="{1F04EA88-809A-4F85-8410-AB2D35104744}"/>
              </a:ext>
            </a:extLst>
          </p:cNvPr>
          <p:cNvSpPr/>
          <p:nvPr/>
        </p:nvSpPr>
        <p:spPr>
          <a:xfrm>
            <a:off x="467544" y="699542"/>
            <a:ext cx="8234331" cy="4345668"/>
          </a:xfrm>
          <a:prstGeom prst="rect">
            <a:avLst/>
          </a:prstGeom>
        </p:spPr>
        <p:txBody>
          <a:bodyPr wrap="square" tIns="36000" bIns="36000">
            <a:spAutoFit/>
          </a:bodyPr>
          <a:lstStyle/>
          <a:p>
            <a:pPr>
              <a:spcBef>
                <a:spcPts val="450"/>
              </a:spcBef>
            </a:pP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We need SRB to approve Yumchina 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支付中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心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Ⅱ total 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udget RMB </a:t>
            </a:r>
            <a:r>
              <a: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,828,844: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50000"/>
              </a:lnSpc>
              <a:spcBef>
                <a:spcPts val="1350"/>
              </a:spcBef>
              <a:buFontTx/>
              <a:buChar char="-"/>
              <a:defRPr/>
            </a:pPr>
            <a:r>
              <a:rPr lang="en-US" altLang="zh-CN" sz="1600" dirty="0">
                <a:ea typeface="宋体" panose="02010600030101010101" pitchFamily="2" charset="-122"/>
              </a:rPr>
              <a:t>Approve the concept of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600" dirty="0">
                <a:ea typeface="宋体" panose="02010600030101010101" pitchFamily="2" charset="-122"/>
              </a:rPr>
              <a:t>Yumchina </a:t>
            </a:r>
            <a:r>
              <a:rPr lang="zh-CN" altLang="en-US" sz="1600" dirty="0">
                <a:ea typeface="宋体" panose="02010600030101010101" pitchFamily="2" charset="-122"/>
              </a:rPr>
              <a:t>支付中心</a:t>
            </a:r>
            <a:r>
              <a:rPr lang="en-US" altLang="zh-CN" sz="1600" dirty="0">
                <a:ea typeface="宋体" panose="02010600030101010101" pitchFamily="2" charset="-122"/>
              </a:rPr>
              <a:t> Ⅱ</a:t>
            </a:r>
            <a:r>
              <a:rPr lang="zh-CN" altLang="en-US" sz="1600" dirty="0">
                <a:ea typeface="宋体" panose="02010600030101010101" pitchFamily="2" charset="-122"/>
              </a:rPr>
              <a:t> </a:t>
            </a:r>
            <a:endParaRPr lang="en-US" altLang="zh-CN" sz="1600" dirty="0" smtClean="0">
              <a:ea typeface="宋体" panose="02010600030101010101" pitchFamily="2" charset="-122"/>
            </a:endParaRPr>
          </a:p>
          <a:p>
            <a:pPr marL="742950" lvl="1" indent="-285750">
              <a:spcBef>
                <a:spcPts val="1350"/>
              </a:spcBef>
              <a:buFontTx/>
              <a:buChar char="-"/>
              <a:defRPr/>
            </a:pPr>
            <a:r>
              <a:rPr lang="en-US" altLang="zh-CN" sz="1600" dirty="0">
                <a:ea typeface="宋体" panose="02010600030101010101" pitchFamily="2" charset="-122"/>
              </a:rPr>
              <a:t>Approve </a:t>
            </a:r>
            <a:r>
              <a:rPr lang="en-US" altLang="zh-CN" sz="1600" dirty="0" smtClean="0">
                <a:ea typeface="宋体" panose="02010600030101010101" pitchFamily="2" charset="-122"/>
              </a:rPr>
              <a:t>KFC/PH development </a:t>
            </a:r>
            <a:r>
              <a:rPr lang="en-US" altLang="zh-CN" sz="1600" dirty="0">
                <a:ea typeface="宋体" panose="02010600030101010101" pitchFamily="2" charset="-122"/>
              </a:rPr>
              <a:t>budget RMB </a:t>
            </a:r>
            <a:r>
              <a:rPr lang="en-US" altLang="zh-CN" sz="1600" dirty="0" smtClean="0">
                <a:ea typeface="宋体" panose="02010600030101010101" pitchFamily="2" charset="-122"/>
              </a:rPr>
              <a:t>300,000</a:t>
            </a:r>
            <a:endParaRPr lang="en-US" altLang="zh-CN" sz="1600" dirty="0">
              <a:ea typeface="宋体" panose="02010600030101010101" pitchFamily="2" charset="-122"/>
            </a:endParaRPr>
          </a:p>
          <a:p>
            <a:pPr marL="742950" lvl="1" indent="-285750">
              <a:lnSpc>
                <a:spcPct val="50000"/>
              </a:lnSpc>
              <a:spcBef>
                <a:spcPts val="1350"/>
              </a:spcBef>
              <a:buFontTx/>
              <a:buChar char="-"/>
              <a:defRPr/>
            </a:pPr>
            <a:r>
              <a:rPr lang="en-US" altLang="zh-CN" sz="1600" dirty="0" smtClean="0">
                <a:ea typeface="宋体" panose="02010600030101010101" pitchFamily="2" charset="-122"/>
              </a:rPr>
              <a:t>Approve Yumchina</a:t>
            </a:r>
            <a:r>
              <a:rPr lang="zh-CN" altLang="en-US" sz="1600" dirty="0">
                <a:ea typeface="宋体" panose="02010600030101010101" pitchFamily="2" charset="-122"/>
              </a:rPr>
              <a:t>支付中心</a:t>
            </a:r>
            <a:r>
              <a:rPr lang="en-US" altLang="zh-CN" sz="1600" dirty="0">
                <a:ea typeface="宋体" panose="02010600030101010101" pitchFamily="2" charset="-122"/>
              </a:rPr>
              <a:t> Ⅱ</a:t>
            </a:r>
            <a:r>
              <a:rPr lang="zh-CN" altLang="en-US" sz="1600" dirty="0">
                <a:ea typeface="宋体" panose="02010600030101010101" pitchFamily="2" charset="-122"/>
              </a:rPr>
              <a:t> </a:t>
            </a:r>
            <a:r>
              <a:rPr lang="en-US" altLang="zh-CN" sz="1600" dirty="0" smtClean="0">
                <a:ea typeface="宋体" panose="02010600030101010101" pitchFamily="2" charset="-122"/>
              </a:rPr>
              <a:t>total </a:t>
            </a:r>
            <a:r>
              <a:rPr lang="en-US" altLang="zh-CN" sz="1600" dirty="0">
                <a:ea typeface="宋体" panose="02010600030101010101" pitchFamily="2" charset="-122"/>
              </a:rPr>
              <a:t>purchasing price RMB </a:t>
            </a:r>
            <a:r>
              <a:rPr lang="en-US" altLang="zh-CN" sz="1600" dirty="0" smtClean="0">
                <a:ea typeface="宋体" panose="02010600030101010101" pitchFamily="2" charset="-122"/>
              </a:rPr>
              <a:t>3,528,844 </a:t>
            </a:r>
            <a:endParaRPr lang="en-US" altLang="zh-CN" sz="1600" dirty="0">
              <a:ea typeface="宋体" panose="02010600030101010101" pitchFamily="2" charset="-122"/>
            </a:endParaRPr>
          </a:p>
          <a:p>
            <a:pPr marL="1200150" lvl="2" indent="-285750">
              <a:lnSpc>
                <a:spcPct val="50000"/>
              </a:lnSpc>
              <a:spcBef>
                <a:spcPts val="1350"/>
              </a:spcBef>
              <a:buFontTx/>
              <a:buChar char="-"/>
              <a:defRPr/>
            </a:pPr>
            <a:r>
              <a:rPr lang="en-US" altLang="zh-CN" sz="1600" dirty="0">
                <a:ea typeface="宋体" panose="02010600030101010101" pitchFamily="2" charset="-122"/>
              </a:rPr>
              <a:t>Pay Center at RMB </a:t>
            </a:r>
            <a:r>
              <a:rPr lang="en-US" altLang="zh-CN" sz="1600" dirty="0" smtClean="0">
                <a:ea typeface="宋体" panose="02010600030101010101" pitchFamily="2" charset="-122"/>
              </a:rPr>
              <a:t>1,941,876 </a:t>
            </a:r>
            <a:r>
              <a:rPr lang="en-US" altLang="zh-CN" sz="1600" dirty="0">
                <a:ea typeface="宋体" panose="02010600030101010101" pitchFamily="2" charset="-122"/>
              </a:rPr>
              <a:t>by Hitachi</a:t>
            </a:r>
          </a:p>
          <a:p>
            <a:pPr marL="1200150" lvl="2" indent="-285750">
              <a:lnSpc>
                <a:spcPct val="50000"/>
              </a:lnSpc>
              <a:spcBef>
                <a:spcPts val="1350"/>
              </a:spcBef>
              <a:buFontTx/>
              <a:buChar char="-"/>
              <a:defRPr/>
            </a:pPr>
            <a:r>
              <a:rPr lang="en-US" altLang="zh-CN" sz="1600" dirty="0">
                <a:ea typeface="宋体" panose="02010600030101010101" pitchFamily="2" charset="-122"/>
              </a:rPr>
              <a:t>Order Center at RMB </a:t>
            </a:r>
            <a:r>
              <a:rPr lang="en-US" altLang="zh-CN" sz="1600" dirty="0" smtClean="0">
                <a:ea typeface="宋体" panose="02010600030101010101" pitchFamily="2" charset="-122"/>
              </a:rPr>
              <a:t>122,100 </a:t>
            </a:r>
            <a:r>
              <a:rPr lang="en-US" altLang="zh-CN" sz="1600" dirty="0">
                <a:ea typeface="宋体" panose="02010600030101010101" pitchFamily="2" charset="-122"/>
              </a:rPr>
              <a:t>by </a:t>
            </a:r>
            <a:r>
              <a:rPr lang="zh-CN" altLang="en-US" sz="1600" dirty="0">
                <a:ea typeface="宋体" panose="02010600030101010101" pitchFamily="2" charset="-122"/>
              </a:rPr>
              <a:t>明胜品智</a:t>
            </a:r>
            <a:endParaRPr lang="en-US" altLang="zh-CN" sz="1600" dirty="0">
              <a:ea typeface="宋体" panose="02010600030101010101" pitchFamily="2" charset="-122"/>
            </a:endParaRPr>
          </a:p>
          <a:p>
            <a:pPr marL="1200150" lvl="2" indent="-285750">
              <a:lnSpc>
                <a:spcPct val="50000"/>
              </a:lnSpc>
              <a:spcBef>
                <a:spcPts val="1350"/>
              </a:spcBef>
              <a:buFontTx/>
              <a:buChar char="-"/>
              <a:defRPr/>
            </a:pPr>
            <a:r>
              <a:rPr lang="en-US" altLang="zh-CN" sz="1600" dirty="0">
                <a:ea typeface="宋体" panose="02010600030101010101" pitchFamily="2" charset="-122"/>
              </a:rPr>
              <a:t>FSC at RMB </a:t>
            </a:r>
            <a:r>
              <a:rPr lang="en-US" altLang="zh-CN" sz="1600" dirty="0" smtClean="0">
                <a:ea typeface="宋体" panose="02010600030101010101" pitchFamily="2" charset="-122"/>
              </a:rPr>
              <a:t>54,000 </a:t>
            </a:r>
            <a:r>
              <a:rPr lang="en-US" altLang="zh-CN" sz="1600" dirty="0">
                <a:ea typeface="宋体" panose="02010600030101010101" pitchFamily="2" charset="-122"/>
              </a:rPr>
              <a:t>by </a:t>
            </a:r>
            <a:r>
              <a:rPr lang="zh-CN" altLang="en-US" sz="1600" dirty="0">
                <a:ea typeface="宋体" panose="02010600030101010101" pitchFamily="2" charset="-122"/>
              </a:rPr>
              <a:t>网新恒天</a:t>
            </a:r>
            <a:endParaRPr lang="en-US" altLang="zh-CN" sz="1600" dirty="0">
              <a:ea typeface="宋体" panose="02010600030101010101" pitchFamily="2" charset="-122"/>
            </a:endParaRPr>
          </a:p>
          <a:p>
            <a:pPr marL="1200150" lvl="2" indent="-285750">
              <a:lnSpc>
                <a:spcPct val="50000"/>
              </a:lnSpc>
              <a:spcBef>
                <a:spcPts val="1350"/>
              </a:spcBef>
              <a:buFontTx/>
              <a:buChar char="-"/>
              <a:defRPr/>
            </a:pPr>
            <a:r>
              <a:rPr lang="en-US" altLang="zh-CN" sz="1600" dirty="0">
                <a:ea typeface="宋体" panose="02010600030101010101" pitchFamily="2" charset="-122"/>
              </a:rPr>
              <a:t>Coupon Center at RMB </a:t>
            </a:r>
            <a:r>
              <a:rPr lang="en-US" altLang="zh-CN" sz="1600" dirty="0" smtClean="0"/>
              <a:t>80,550</a:t>
            </a:r>
            <a:r>
              <a:rPr lang="en-US" altLang="zh-CN" sz="1600" dirty="0" smtClean="0">
                <a:ea typeface="宋体" panose="02010600030101010101" pitchFamily="2" charset="-122"/>
              </a:rPr>
              <a:t> </a:t>
            </a:r>
            <a:r>
              <a:rPr lang="en-US" altLang="zh-CN" sz="1600" dirty="0">
                <a:ea typeface="宋体" panose="02010600030101010101" pitchFamily="2" charset="-122"/>
              </a:rPr>
              <a:t>by </a:t>
            </a:r>
            <a:r>
              <a:rPr lang="en-US" altLang="zh-CN" sz="1600" dirty="0" smtClean="0"/>
              <a:t>Infosys</a:t>
            </a:r>
          </a:p>
          <a:p>
            <a:pPr marL="1200150" lvl="2" indent="-285750">
              <a:lnSpc>
                <a:spcPct val="50000"/>
              </a:lnSpc>
              <a:spcBef>
                <a:spcPts val="1350"/>
              </a:spcBef>
              <a:buFontTx/>
              <a:buChar char="-"/>
              <a:defRPr/>
            </a:pPr>
            <a:r>
              <a:rPr lang="zh-CN" altLang="en-US" sz="1600" dirty="0" smtClean="0">
                <a:ea typeface="宋体" panose="02010600030101010101" pitchFamily="2" charset="-122"/>
              </a:rPr>
              <a:t>统一客服平台 </a:t>
            </a:r>
            <a:r>
              <a:rPr lang="en-US" altLang="zh-CN" sz="1600" dirty="0" smtClean="0">
                <a:ea typeface="宋体" panose="02010600030101010101" pitchFamily="2" charset="-122"/>
              </a:rPr>
              <a:t>at RMB 72,000 by </a:t>
            </a:r>
            <a:r>
              <a:rPr lang="zh-CN" altLang="en-US" sz="1600" dirty="0" smtClean="0">
                <a:ea typeface="宋体" panose="02010600030101010101" pitchFamily="2" charset="-122"/>
              </a:rPr>
              <a:t>软通动力</a:t>
            </a:r>
            <a:endParaRPr lang="en-US" altLang="zh-CN" sz="1600" dirty="0" smtClean="0">
              <a:ea typeface="宋体" panose="02010600030101010101" pitchFamily="2" charset="-122"/>
            </a:endParaRPr>
          </a:p>
          <a:p>
            <a:pPr marL="1200150" lvl="2" indent="-285750">
              <a:lnSpc>
                <a:spcPct val="50000"/>
              </a:lnSpc>
              <a:spcBef>
                <a:spcPts val="1350"/>
              </a:spcBef>
              <a:buFontTx/>
              <a:buChar char="-"/>
              <a:defRPr/>
            </a:pPr>
            <a:r>
              <a:rPr lang="en-US" altLang="zh-CN" sz="1600" dirty="0" smtClean="0">
                <a:ea typeface="宋体" panose="02010600030101010101" pitchFamily="2" charset="-122"/>
              </a:rPr>
              <a:t>CPOS at RMB 90,180 by Hitachi</a:t>
            </a:r>
          </a:p>
          <a:p>
            <a:pPr marL="1200150" lvl="2" indent="-285750">
              <a:lnSpc>
                <a:spcPct val="50000"/>
              </a:lnSpc>
              <a:spcBef>
                <a:spcPts val="1350"/>
              </a:spcBef>
              <a:buFontTx/>
              <a:buChar char="-"/>
              <a:defRPr/>
            </a:pPr>
            <a:r>
              <a:rPr lang="en-US" altLang="zh-CN" sz="1600" dirty="0" smtClean="0">
                <a:ea typeface="宋体" panose="02010600030101010101" pitchFamily="2" charset="-122"/>
              </a:rPr>
              <a:t>SAAS at RMB 114,700 by </a:t>
            </a:r>
            <a:r>
              <a:rPr lang="zh-CN" altLang="en-US" sz="1600" dirty="0" smtClean="0">
                <a:ea typeface="宋体" panose="02010600030101010101" pitchFamily="2" charset="-122"/>
              </a:rPr>
              <a:t>明胜品智</a:t>
            </a:r>
            <a:endParaRPr lang="en-US" altLang="zh-CN" sz="1600" dirty="0" smtClean="0">
              <a:ea typeface="宋体" panose="02010600030101010101" pitchFamily="2" charset="-122"/>
            </a:endParaRPr>
          </a:p>
          <a:p>
            <a:pPr marL="1200150" lvl="2" indent="-285750">
              <a:lnSpc>
                <a:spcPct val="50000"/>
              </a:lnSpc>
              <a:spcBef>
                <a:spcPts val="1350"/>
              </a:spcBef>
              <a:buFontTx/>
              <a:buChar char="-"/>
              <a:defRPr/>
            </a:pPr>
            <a:r>
              <a:rPr lang="en-US" altLang="zh-CN" sz="1600" dirty="0" smtClean="0">
                <a:ea typeface="宋体" panose="02010600030101010101" pitchFamily="2" charset="-122"/>
              </a:rPr>
              <a:t>VGold at RMB 27,750 by </a:t>
            </a:r>
            <a:r>
              <a:rPr lang="zh-CN" altLang="en-US" sz="1600" dirty="0" smtClean="0">
                <a:ea typeface="宋体" panose="02010600030101010101" pitchFamily="2" charset="-122"/>
              </a:rPr>
              <a:t>明胜品智 </a:t>
            </a:r>
            <a:endParaRPr lang="en-US" altLang="zh-CN" sz="1600" dirty="0" smtClean="0">
              <a:ea typeface="宋体" panose="02010600030101010101" pitchFamily="2" charset="-122"/>
            </a:endParaRPr>
          </a:p>
          <a:p>
            <a:pPr marL="1200150" lvl="2" indent="-285750">
              <a:lnSpc>
                <a:spcPct val="50000"/>
              </a:lnSpc>
              <a:spcBef>
                <a:spcPts val="1350"/>
              </a:spcBef>
              <a:buFontTx/>
              <a:buChar char="-"/>
              <a:defRPr/>
            </a:pPr>
            <a:r>
              <a:rPr lang="en-US" altLang="zh-CN" sz="1600" dirty="0" smtClean="0">
                <a:ea typeface="宋体" panose="02010600030101010101" pitchFamily="2" charset="-122"/>
              </a:rPr>
              <a:t>QA at RMB 5,750 by </a:t>
            </a:r>
            <a:r>
              <a:rPr lang="zh-CN" altLang="en-US" sz="1600" dirty="0" smtClean="0">
                <a:ea typeface="宋体" panose="02010600030101010101" pitchFamily="2" charset="-122"/>
              </a:rPr>
              <a:t>北</a:t>
            </a:r>
            <a:r>
              <a:rPr lang="zh-CN" altLang="en-US" sz="1600" dirty="0">
                <a:ea typeface="宋体" panose="02010600030101010101" pitchFamily="2" charset="-122"/>
              </a:rPr>
              <a:t>京捷科智诚</a:t>
            </a:r>
            <a:endParaRPr lang="en-US" altLang="zh-CN" sz="1600" dirty="0" smtClean="0">
              <a:ea typeface="宋体" panose="02010600030101010101" pitchFamily="2" charset="-122"/>
            </a:endParaRPr>
          </a:p>
          <a:p>
            <a:pPr marL="1200150" lvl="2" indent="-285750">
              <a:lnSpc>
                <a:spcPct val="50000"/>
              </a:lnSpc>
              <a:spcBef>
                <a:spcPts val="1350"/>
              </a:spcBef>
              <a:buFontTx/>
              <a:buChar char="-"/>
              <a:defRPr/>
            </a:pPr>
            <a:r>
              <a:rPr lang="en-US" altLang="zh-CN" sz="1600" dirty="0" smtClean="0">
                <a:ea typeface="宋体" panose="02010600030101010101" pitchFamily="2" charset="-122"/>
              </a:rPr>
              <a:t>VM, Virtual DB &amp; SAN purchase based on Server at RMB 1,019,938</a:t>
            </a:r>
            <a:endParaRPr lang="en-US" altLang="zh-CN" sz="1600" dirty="0">
              <a:ea typeface="宋体" panose="02010600030101010101" pitchFamily="2" charset="-122"/>
            </a:endParaRPr>
          </a:p>
        </p:txBody>
      </p:sp>
      <p:sp>
        <p:nvSpPr>
          <p:cNvPr id="4" name="Text Box 18">
            <a:extLst>
              <a:ext uri="{FF2B5EF4-FFF2-40B4-BE49-F238E27FC236}">
                <a16:creationId xmlns:a16="http://schemas.microsoft.com/office/drawing/2014/main" id="{0AE94EE6-71D6-46A7-BFDC-2688F316FCB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531" y="217790"/>
            <a:ext cx="338437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spcBef>
                <a:spcPts val="2381"/>
              </a:spcBef>
            </a:pPr>
            <a:r>
              <a:rPr lang="en-US" altLang="zh-CN" sz="2000" b="1" dirty="0">
                <a:latin typeface="Microsoft YaHei" panose="020B0503020204020204" pitchFamily="34" charset="-122"/>
                <a:cs typeface="Helvetica Neue"/>
                <a:sym typeface="Helvetica Neue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3425378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矩形 619"/>
          <p:cNvSpPr/>
          <p:nvPr/>
        </p:nvSpPr>
        <p:spPr>
          <a:xfrm>
            <a:off x="0" y="1329144"/>
            <a:ext cx="9144000" cy="17364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97" name="组合 596"/>
          <p:cNvGrpSpPr/>
          <p:nvPr/>
        </p:nvGrpSpPr>
        <p:grpSpPr>
          <a:xfrm>
            <a:off x="920066" y="1132308"/>
            <a:ext cx="2080670" cy="2080670"/>
            <a:chOff x="304800" y="673100"/>
            <a:chExt cx="4000500" cy="4000500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598" name="同心圆 597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99" name="椭圆 598"/>
            <p:cNvSpPr/>
            <p:nvPr/>
          </p:nvSpPr>
          <p:spPr>
            <a:xfrm>
              <a:off x="392113" y="760413"/>
              <a:ext cx="3825874" cy="3825874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00" name="椭圆 599"/>
          <p:cNvSpPr/>
          <p:nvPr/>
        </p:nvSpPr>
        <p:spPr>
          <a:xfrm>
            <a:off x="234150" y="2685470"/>
            <a:ext cx="677676" cy="677676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02" name="组合 601"/>
          <p:cNvGrpSpPr/>
          <p:nvPr/>
        </p:nvGrpSpPr>
        <p:grpSpPr>
          <a:xfrm>
            <a:off x="664418" y="1192205"/>
            <a:ext cx="301060" cy="301060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03" name="同心圆 602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04" name="椭圆 603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05" name="组合 604"/>
          <p:cNvGrpSpPr/>
          <p:nvPr/>
        </p:nvGrpSpPr>
        <p:grpSpPr>
          <a:xfrm>
            <a:off x="2650511" y="609119"/>
            <a:ext cx="623903" cy="623903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606" name="同心圆 605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07" name="椭圆 606"/>
            <p:cNvSpPr/>
            <p:nvPr/>
          </p:nvSpPr>
          <p:spPr>
            <a:xfrm>
              <a:off x="392113" y="760413"/>
              <a:ext cx="3825874" cy="3825874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08" name="组合 607"/>
          <p:cNvGrpSpPr/>
          <p:nvPr/>
        </p:nvGrpSpPr>
        <p:grpSpPr>
          <a:xfrm>
            <a:off x="7642415" y="2954672"/>
            <a:ext cx="219777" cy="219777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09" name="同心圆 608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0" name="椭圆 609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11" name="组合 610"/>
          <p:cNvGrpSpPr/>
          <p:nvPr/>
        </p:nvGrpSpPr>
        <p:grpSpPr>
          <a:xfrm>
            <a:off x="7236296" y="2921644"/>
            <a:ext cx="287919" cy="287919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12" name="同心圆 611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3" name="椭圆 612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15" name="椭圆 614"/>
          <p:cNvSpPr/>
          <p:nvPr/>
        </p:nvSpPr>
        <p:spPr>
          <a:xfrm>
            <a:off x="1310839" y="3132154"/>
            <a:ext cx="137389" cy="137389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16" name="组合 615"/>
          <p:cNvGrpSpPr/>
          <p:nvPr/>
        </p:nvGrpSpPr>
        <p:grpSpPr>
          <a:xfrm>
            <a:off x="1448228" y="3996626"/>
            <a:ext cx="713989" cy="713989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617" name="同心圆 616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8" name="椭圆 617"/>
            <p:cNvSpPr/>
            <p:nvPr/>
          </p:nvSpPr>
          <p:spPr>
            <a:xfrm>
              <a:off x="406534" y="673100"/>
              <a:ext cx="3825876" cy="3825876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622" name="TextBox 7"/>
          <p:cNvSpPr>
            <a:spLocks noChangeArrowheads="1"/>
          </p:cNvSpPr>
          <p:nvPr/>
        </p:nvSpPr>
        <p:spPr bwMode="auto">
          <a:xfrm>
            <a:off x="2492722" y="1728977"/>
            <a:ext cx="661380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914400"/>
            <a:r>
              <a:rPr lang="zh-CN" altLang="en-US" sz="4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微软雅黑" pitchFamily="34" charset="-122"/>
              </a:rPr>
              <a:t>感谢您的观看与聆听</a:t>
            </a:r>
            <a:endParaRPr lang="zh-CN" altLang="en-US" sz="48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微软雅黑" pitchFamily="34" charset="-122"/>
            </a:endParaRPr>
          </a:p>
        </p:txBody>
      </p:sp>
      <p:cxnSp>
        <p:nvCxnSpPr>
          <p:cNvPr id="624" name="直接连接符 623"/>
          <p:cNvCxnSpPr/>
          <p:nvPr/>
        </p:nvCxnSpPr>
        <p:spPr>
          <a:xfrm>
            <a:off x="3076546" y="2571750"/>
            <a:ext cx="5447228" cy="0"/>
          </a:xfrm>
          <a:prstGeom prst="line">
            <a:avLst/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13"/>
          <p:cNvSpPr txBox="1"/>
          <p:nvPr/>
        </p:nvSpPr>
        <p:spPr>
          <a:xfrm>
            <a:off x="1120695" y="1661224"/>
            <a:ext cx="178125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0" dirty="0">
                <a:solidFill>
                  <a:srgbClr val="C0000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  <a:latin typeface="Impact" panose="020B0806030902050204" pitchFamily="34" charset="0"/>
                <a:ea typeface="微软雅黑" panose="020B0503020204020204" pitchFamily="34" charset="-122"/>
              </a:rPr>
              <a:t>2020</a:t>
            </a:r>
            <a:endParaRPr lang="zh-CN" altLang="en-US" sz="6000" dirty="0">
              <a:solidFill>
                <a:srgbClr val="C0000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  <a:latin typeface="Impact" panose="020B0806030902050204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56459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000"/>
    </mc:Choice>
    <mc:Fallback xmlns="">
      <p:transition advTm="900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043608" y="789550"/>
            <a:ext cx="7627357" cy="185420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Text Box 18"/>
          <p:cNvSpPr txBox="1">
            <a:spLocks noChangeArrowheads="1"/>
          </p:cNvSpPr>
          <p:nvPr/>
        </p:nvSpPr>
        <p:spPr bwMode="gray">
          <a:xfrm>
            <a:off x="-21913" y="195486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财</a:t>
            </a:r>
            <a:r>
              <a:rPr lang="zh-CN" altLang="en-US" sz="2000" b="1" dirty="0" smtClean="0">
                <a:latin typeface="+mj-ea"/>
                <a:ea typeface="+mj-ea"/>
                <a:cs typeface="微软雅黑" panose="020B0503020204020204" charset="-122"/>
                <a:sym typeface="+mn-ea"/>
              </a:rPr>
              <a:t>务风险痛点</a:t>
            </a: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分析</a:t>
            </a:r>
            <a:endParaRPr lang="zh-CN" altLang="en-US" sz="2000" b="1" dirty="0">
              <a:latin typeface="+mj-ea"/>
              <a:cs typeface="微软雅黑" panose="020B0503020204020204" charset="-122"/>
              <a:sym typeface="+mn-ea"/>
            </a:endParaRPr>
          </a:p>
        </p:txBody>
      </p:sp>
      <p:sp>
        <p:nvSpPr>
          <p:cNvPr id="66" name="矩形 65"/>
          <p:cNvSpPr/>
          <p:nvPr/>
        </p:nvSpPr>
        <p:spPr>
          <a:xfrm>
            <a:off x="1404616" y="3790002"/>
            <a:ext cx="1980030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1400" b="1" dirty="0" smtClean="0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</a:rPr>
              <a:t>百胜数字资产</a:t>
            </a:r>
            <a:endParaRPr kumimoji="1" lang="en-US" altLang="zh-CN" sz="1400" b="1" dirty="0" smtClean="0">
              <a:solidFill>
                <a:schemeClr val="bg1">
                  <a:lumMod val="50000"/>
                </a:schemeClr>
              </a:solidFill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400" b="1" dirty="0" smtClean="0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</a:rPr>
              <a:t>是黑产主要的攻击目标</a:t>
            </a:r>
            <a:endParaRPr kumimoji="1" lang="en-US" altLang="zh-CN" sz="1400" b="1" dirty="0">
              <a:solidFill>
                <a:schemeClr val="bg1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4677256" y="3018531"/>
            <a:ext cx="693998" cy="693998"/>
            <a:chOff x="4550951" y="2931790"/>
            <a:chExt cx="693998" cy="693998"/>
          </a:xfrm>
        </p:grpSpPr>
        <p:sp>
          <p:nvSpPr>
            <p:cNvPr id="67" name="Oval 7"/>
            <p:cNvSpPr>
              <a:spLocks noChangeArrowheads="1"/>
            </p:cNvSpPr>
            <p:nvPr/>
          </p:nvSpPr>
          <p:spPr bwMode="auto">
            <a:xfrm>
              <a:off x="4550951" y="2931790"/>
              <a:ext cx="693998" cy="693998"/>
            </a:xfrm>
            <a:prstGeom prst="ellipse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2700000" scaled="0"/>
              </a:gradFill>
            </a:ln>
            <a:effectLst>
              <a:outerShdw blurRad="1651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/>
            </a:p>
          </p:txBody>
        </p:sp>
        <p:sp>
          <p:nvSpPr>
            <p:cNvPr id="68" name="Freeform 9"/>
            <p:cNvSpPr>
              <a:spLocks noEditPoints="1"/>
            </p:cNvSpPr>
            <p:nvPr/>
          </p:nvSpPr>
          <p:spPr bwMode="auto">
            <a:xfrm rot="19469485">
              <a:off x="4708767" y="3090244"/>
              <a:ext cx="378367" cy="403173"/>
            </a:xfrm>
            <a:custGeom>
              <a:avLst/>
              <a:gdLst>
                <a:gd name="T0" fmla="*/ 147 w 243"/>
                <a:gd name="T1" fmla="*/ 240 h 269"/>
                <a:gd name="T2" fmla="*/ 90 w 243"/>
                <a:gd name="T3" fmla="*/ 234 h 269"/>
                <a:gd name="T4" fmla="*/ 147 w 243"/>
                <a:gd name="T5" fmla="*/ 227 h 269"/>
                <a:gd name="T6" fmla="*/ 147 w 243"/>
                <a:gd name="T7" fmla="*/ 243 h 269"/>
                <a:gd name="T8" fmla="*/ 90 w 243"/>
                <a:gd name="T9" fmla="*/ 252 h 269"/>
                <a:gd name="T10" fmla="*/ 96 w 243"/>
                <a:gd name="T11" fmla="*/ 256 h 269"/>
                <a:gd name="T12" fmla="*/ 105 w 243"/>
                <a:gd name="T13" fmla="*/ 262 h 269"/>
                <a:gd name="T14" fmla="*/ 126 w 243"/>
                <a:gd name="T15" fmla="*/ 269 h 269"/>
                <a:gd name="T16" fmla="*/ 138 w 243"/>
                <a:gd name="T17" fmla="*/ 261 h 269"/>
                <a:gd name="T18" fmla="*/ 147 w 243"/>
                <a:gd name="T19" fmla="*/ 256 h 269"/>
                <a:gd name="T20" fmla="*/ 147 w 243"/>
                <a:gd name="T21" fmla="*/ 243 h 269"/>
                <a:gd name="T22" fmla="*/ 128 w 243"/>
                <a:gd name="T23" fmla="*/ 32 h 269"/>
                <a:gd name="T24" fmla="*/ 122 w 243"/>
                <a:gd name="T25" fmla="*/ 0 h 269"/>
                <a:gd name="T26" fmla="*/ 115 w 243"/>
                <a:gd name="T27" fmla="*/ 32 h 269"/>
                <a:gd name="T28" fmla="*/ 54 w 243"/>
                <a:gd name="T29" fmla="*/ 63 h 269"/>
                <a:gd name="T30" fmla="*/ 63 w 243"/>
                <a:gd name="T31" fmla="*/ 63 h 269"/>
                <a:gd name="T32" fmla="*/ 45 w 243"/>
                <a:gd name="T33" fmla="*/ 36 h 269"/>
                <a:gd name="T34" fmla="*/ 36 w 243"/>
                <a:gd name="T35" fmla="*/ 45 h 269"/>
                <a:gd name="T36" fmla="*/ 38 w 243"/>
                <a:gd name="T37" fmla="*/ 122 h 269"/>
                <a:gd name="T38" fmla="*/ 6 w 243"/>
                <a:gd name="T39" fmla="*/ 115 h 269"/>
                <a:gd name="T40" fmla="*/ 6 w 243"/>
                <a:gd name="T41" fmla="*/ 128 h 269"/>
                <a:gd name="T42" fmla="*/ 38 w 243"/>
                <a:gd name="T43" fmla="*/ 122 h 269"/>
                <a:gd name="T44" fmla="*/ 36 w 243"/>
                <a:gd name="T45" fmla="*/ 199 h 269"/>
                <a:gd name="T46" fmla="*/ 40 w 243"/>
                <a:gd name="T47" fmla="*/ 209 h 269"/>
                <a:gd name="T48" fmla="*/ 63 w 243"/>
                <a:gd name="T49" fmla="*/ 189 h 269"/>
                <a:gd name="T50" fmla="*/ 54 w 243"/>
                <a:gd name="T51" fmla="*/ 180 h 269"/>
                <a:gd name="T52" fmla="*/ 180 w 243"/>
                <a:gd name="T53" fmla="*/ 180 h 269"/>
                <a:gd name="T54" fmla="*/ 199 w 243"/>
                <a:gd name="T55" fmla="*/ 208 h 269"/>
                <a:gd name="T56" fmla="*/ 208 w 243"/>
                <a:gd name="T57" fmla="*/ 208 h 269"/>
                <a:gd name="T58" fmla="*/ 189 w 243"/>
                <a:gd name="T59" fmla="*/ 180 h 269"/>
                <a:gd name="T60" fmla="*/ 211 w 243"/>
                <a:gd name="T61" fmla="*/ 115 h 269"/>
                <a:gd name="T62" fmla="*/ 211 w 243"/>
                <a:gd name="T63" fmla="*/ 128 h 269"/>
                <a:gd name="T64" fmla="*/ 243 w 243"/>
                <a:gd name="T65" fmla="*/ 122 h 269"/>
                <a:gd name="T66" fmla="*/ 185 w 243"/>
                <a:gd name="T67" fmla="*/ 65 h 269"/>
                <a:gd name="T68" fmla="*/ 208 w 243"/>
                <a:gd name="T69" fmla="*/ 45 h 269"/>
                <a:gd name="T70" fmla="*/ 199 w 243"/>
                <a:gd name="T71" fmla="*/ 36 h 269"/>
                <a:gd name="T72" fmla="*/ 180 w 243"/>
                <a:gd name="T73" fmla="*/ 63 h 269"/>
                <a:gd name="T74" fmla="*/ 154 w 243"/>
                <a:gd name="T75" fmla="*/ 218 h 269"/>
                <a:gd name="T76" fmla="*/ 96 w 243"/>
                <a:gd name="T77" fmla="*/ 224 h 269"/>
                <a:gd name="T78" fmla="*/ 96 w 243"/>
                <a:gd name="T79" fmla="*/ 211 h 269"/>
                <a:gd name="T80" fmla="*/ 122 w 243"/>
                <a:gd name="T81" fmla="*/ 58 h 269"/>
                <a:gd name="T82" fmla="*/ 148 w 243"/>
                <a:gd name="T83" fmla="*/ 211 h 269"/>
                <a:gd name="T84" fmla="*/ 107 w 243"/>
                <a:gd name="T85" fmla="*/ 76 h 269"/>
                <a:gd name="T86" fmla="*/ 67 w 243"/>
                <a:gd name="T87" fmla="*/ 111 h 269"/>
                <a:gd name="T88" fmla="*/ 72 w 243"/>
                <a:gd name="T89" fmla="*/ 117 h 269"/>
                <a:gd name="T90" fmla="*/ 104 w 243"/>
                <a:gd name="T91" fmla="*/ 82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3" h="269">
                  <a:moveTo>
                    <a:pt x="154" y="234"/>
                  </a:moveTo>
                  <a:cubicBezTo>
                    <a:pt x="154" y="237"/>
                    <a:pt x="151" y="240"/>
                    <a:pt x="147" y="240"/>
                  </a:cubicBezTo>
                  <a:cubicBezTo>
                    <a:pt x="96" y="240"/>
                    <a:pt x="96" y="240"/>
                    <a:pt x="96" y="240"/>
                  </a:cubicBezTo>
                  <a:cubicBezTo>
                    <a:pt x="92" y="240"/>
                    <a:pt x="90" y="237"/>
                    <a:pt x="90" y="234"/>
                  </a:cubicBezTo>
                  <a:cubicBezTo>
                    <a:pt x="90" y="230"/>
                    <a:pt x="92" y="227"/>
                    <a:pt x="96" y="227"/>
                  </a:cubicBezTo>
                  <a:cubicBezTo>
                    <a:pt x="147" y="227"/>
                    <a:pt x="147" y="227"/>
                    <a:pt x="147" y="227"/>
                  </a:cubicBezTo>
                  <a:cubicBezTo>
                    <a:pt x="151" y="227"/>
                    <a:pt x="154" y="230"/>
                    <a:pt x="154" y="234"/>
                  </a:cubicBezTo>
                  <a:close/>
                  <a:moveTo>
                    <a:pt x="147" y="243"/>
                  </a:moveTo>
                  <a:cubicBezTo>
                    <a:pt x="96" y="243"/>
                    <a:pt x="96" y="243"/>
                    <a:pt x="96" y="243"/>
                  </a:cubicBezTo>
                  <a:cubicBezTo>
                    <a:pt x="92" y="243"/>
                    <a:pt x="89" y="247"/>
                    <a:pt x="90" y="252"/>
                  </a:cubicBezTo>
                  <a:cubicBezTo>
                    <a:pt x="91" y="254"/>
                    <a:pt x="93" y="256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100" y="256"/>
                    <a:pt x="103" y="258"/>
                    <a:pt x="105" y="261"/>
                  </a:cubicBezTo>
                  <a:cubicBezTo>
                    <a:pt x="105" y="262"/>
                    <a:pt x="105" y="262"/>
                    <a:pt x="105" y="262"/>
                  </a:cubicBezTo>
                  <a:cubicBezTo>
                    <a:pt x="107" y="266"/>
                    <a:pt x="112" y="269"/>
                    <a:pt x="117" y="269"/>
                  </a:cubicBezTo>
                  <a:cubicBezTo>
                    <a:pt x="126" y="269"/>
                    <a:pt x="126" y="269"/>
                    <a:pt x="126" y="269"/>
                  </a:cubicBezTo>
                  <a:cubicBezTo>
                    <a:pt x="131" y="269"/>
                    <a:pt x="136" y="266"/>
                    <a:pt x="138" y="262"/>
                  </a:cubicBezTo>
                  <a:cubicBezTo>
                    <a:pt x="138" y="261"/>
                    <a:pt x="138" y="261"/>
                    <a:pt x="138" y="261"/>
                  </a:cubicBezTo>
                  <a:cubicBezTo>
                    <a:pt x="140" y="258"/>
                    <a:pt x="143" y="256"/>
                    <a:pt x="147" y="256"/>
                  </a:cubicBezTo>
                  <a:cubicBezTo>
                    <a:pt x="147" y="256"/>
                    <a:pt x="147" y="256"/>
                    <a:pt x="147" y="256"/>
                  </a:cubicBezTo>
                  <a:cubicBezTo>
                    <a:pt x="150" y="256"/>
                    <a:pt x="152" y="254"/>
                    <a:pt x="153" y="252"/>
                  </a:cubicBezTo>
                  <a:cubicBezTo>
                    <a:pt x="155" y="247"/>
                    <a:pt x="151" y="243"/>
                    <a:pt x="147" y="243"/>
                  </a:cubicBezTo>
                  <a:close/>
                  <a:moveTo>
                    <a:pt x="122" y="38"/>
                  </a:moveTo>
                  <a:cubicBezTo>
                    <a:pt x="125" y="38"/>
                    <a:pt x="128" y="36"/>
                    <a:pt x="128" y="32"/>
                  </a:cubicBezTo>
                  <a:cubicBezTo>
                    <a:pt x="128" y="6"/>
                    <a:pt x="128" y="6"/>
                    <a:pt x="128" y="6"/>
                  </a:cubicBezTo>
                  <a:cubicBezTo>
                    <a:pt x="128" y="3"/>
                    <a:pt x="125" y="0"/>
                    <a:pt x="122" y="0"/>
                  </a:cubicBezTo>
                  <a:cubicBezTo>
                    <a:pt x="118" y="0"/>
                    <a:pt x="115" y="3"/>
                    <a:pt x="115" y="6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36"/>
                    <a:pt x="118" y="38"/>
                    <a:pt x="122" y="38"/>
                  </a:cubicBezTo>
                  <a:close/>
                  <a:moveTo>
                    <a:pt x="54" y="63"/>
                  </a:moveTo>
                  <a:cubicBezTo>
                    <a:pt x="55" y="64"/>
                    <a:pt x="57" y="65"/>
                    <a:pt x="58" y="65"/>
                  </a:cubicBezTo>
                  <a:cubicBezTo>
                    <a:pt x="60" y="65"/>
                    <a:pt x="62" y="64"/>
                    <a:pt x="63" y="63"/>
                  </a:cubicBezTo>
                  <a:cubicBezTo>
                    <a:pt x="65" y="60"/>
                    <a:pt x="65" y="56"/>
                    <a:pt x="63" y="54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2" y="33"/>
                    <a:pt x="38" y="33"/>
                    <a:pt x="36" y="36"/>
                  </a:cubicBezTo>
                  <a:cubicBezTo>
                    <a:pt x="33" y="38"/>
                    <a:pt x="33" y="42"/>
                    <a:pt x="36" y="45"/>
                  </a:cubicBezTo>
                  <a:lnTo>
                    <a:pt x="54" y="63"/>
                  </a:lnTo>
                  <a:close/>
                  <a:moveTo>
                    <a:pt x="38" y="122"/>
                  </a:moveTo>
                  <a:cubicBezTo>
                    <a:pt x="38" y="118"/>
                    <a:pt x="36" y="115"/>
                    <a:pt x="32" y="115"/>
                  </a:cubicBezTo>
                  <a:cubicBezTo>
                    <a:pt x="6" y="115"/>
                    <a:pt x="6" y="115"/>
                    <a:pt x="6" y="115"/>
                  </a:cubicBezTo>
                  <a:cubicBezTo>
                    <a:pt x="3" y="115"/>
                    <a:pt x="0" y="118"/>
                    <a:pt x="0" y="122"/>
                  </a:cubicBezTo>
                  <a:cubicBezTo>
                    <a:pt x="0" y="125"/>
                    <a:pt x="3" y="128"/>
                    <a:pt x="6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6" y="128"/>
                    <a:pt x="38" y="125"/>
                    <a:pt x="38" y="122"/>
                  </a:cubicBezTo>
                  <a:close/>
                  <a:moveTo>
                    <a:pt x="54" y="180"/>
                  </a:moveTo>
                  <a:cubicBezTo>
                    <a:pt x="36" y="199"/>
                    <a:pt x="36" y="199"/>
                    <a:pt x="36" y="199"/>
                  </a:cubicBezTo>
                  <a:cubicBezTo>
                    <a:pt x="33" y="201"/>
                    <a:pt x="33" y="205"/>
                    <a:pt x="36" y="208"/>
                  </a:cubicBezTo>
                  <a:cubicBezTo>
                    <a:pt x="37" y="209"/>
                    <a:pt x="39" y="209"/>
                    <a:pt x="40" y="209"/>
                  </a:cubicBezTo>
                  <a:cubicBezTo>
                    <a:pt x="42" y="209"/>
                    <a:pt x="43" y="209"/>
                    <a:pt x="45" y="208"/>
                  </a:cubicBezTo>
                  <a:cubicBezTo>
                    <a:pt x="63" y="189"/>
                    <a:pt x="63" y="189"/>
                    <a:pt x="63" y="189"/>
                  </a:cubicBezTo>
                  <a:cubicBezTo>
                    <a:pt x="65" y="187"/>
                    <a:pt x="65" y="183"/>
                    <a:pt x="63" y="180"/>
                  </a:cubicBezTo>
                  <a:cubicBezTo>
                    <a:pt x="60" y="178"/>
                    <a:pt x="56" y="178"/>
                    <a:pt x="54" y="180"/>
                  </a:cubicBezTo>
                  <a:close/>
                  <a:moveTo>
                    <a:pt x="189" y="180"/>
                  </a:moveTo>
                  <a:cubicBezTo>
                    <a:pt x="187" y="178"/>
                    <a:pt x="183" y="178"/>
                    <a:pt x="180" y="180"/>
                  </a:cubicBezTo>
                  <a:cubicBezTo>
                    <a:pt x="178" y="183"/>
                    <a:pt x="178" y="187"/>
                    <a:pt x="180" y="189"/>
                  </a:cubicBezTo>
                  <a:cubicBezTo>
                    <a:pt x="199" y="208"/>
                    <a:pt x="199" y="208"/>
                    <a:pt x="199" y="208"/>
                  </a:cubicBezTo>
                  <a:cubicBezTo>
                    <a:pt x="200" y="209"/>
                    <a:pt x="201" y="209"/>
                    <a:pt x="203" y="209"/>
                  </a:cubicBezTo>
                  <a:cubicBezTo>
                    <a:pt x="205" y="209"/>
                    <a:pt x="206" y="209"/>
                    <a:pt x="208" y="208"/>
                  </a:cubicBezTo>
                  <a:cubicBezTo>
                    <a:pt x="210" y="205"/>
                    <a:pt x="210" y="201"/>
                    <a:pt x="208" y="199"/>
                  </a:cubicBezTo>
                  <a:lnTo>
                    <a:pt x="189" y="180"/>
                  </a:lnTo>
                  <a:close/>
                  <a:moveTo>
                    <a:pt x="237" y="115"/>
                  </a:moveTo>
                  <a:cubicBezTo>
                    <a:pt x="211" y="115"/>
                    <a:pt x="211" y="115"/>
                    <a:pt x="211" y="115"/>
                  </a:cubicBezTo>
                  <a:cubicBezTo>
                    <a:pt x="208" y="115"/>
                    <a:pt x="205" y="118"/>
                    <a:pt x="205" y="122"/>
                  </a:cubicBezTo>
                  <a:cubicBezTo>
                    <a:pt x="205" y="125"/>
                    <a:pt x="208" y="128"/>
                    <a:pt x="211" y="128"/>
                  </a:cubicBezTo>
                  <a:cubicBezTo>
                    <a:pt x="237" y="128"/>
                    <a:pt x="237" y="128"/>
                    <a:pt x="237" y="128"/>
                  </a:cubicBezTo>
                  <a:cubicBezTo>
                    <a:pt x="240" y="128"/>
                    <a:pt x="243" y="125"/>
                    <a:pt x="243" y="122"/>
                  </a:cubicBezTo>
                  <a:cubicBezTo>
                    <a:pt x="243" y="118"/>
                    <a:pt x="240" y="115"/>
                    <a:pt x="237" y="115"/>
                  </a:cubicBezTo>
                  <a:close/>
                  <a:moveTo>
                    <a:pt x="185" y="65"/>
                  </a:moveTo>
                  <a:cubicBezTo>
                    <a:pt x="187" y="65"/>
                    <a:pt x="188" y="64"/>
                    <a:pt x="189" y="63"/>
                  </a:cubicBezTo>
                  <a:cubicBezTo>
                    <a:pt x="208" y="45"/>
                    <a:pt x="208" y="45"/>
                    <a:pt x="208" y="45"/>
                  </a:cubicBezTo>
                  <a:cubicBezTo>
                    <a:pt x="210" y="42"/>
                    <a:pt x="210" y="38"/>
                    <a:pt x="208" y="36"/>
                  </a:cubicBezTo>
                  <a:cubicBezTo>
                    <a:pt x="205" y="33"/>
                    <a:pt x="201" y="33"/>
                    <a:pt x="199" y="36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78" y="56"/>
                    <a:pt x="178" y="60"/>
                    <a:pt x="180" y="63"/>
                  </a:cubicBezTo>
                  <a:cubicBezTo>
                    <a:pt x="182" y="64"/>
                    <a:pt x="183" y="65"/>
                    <a:pt x="185" y="65"/>
                  </a:cubicBezTo>
                  <a:close/>
                  <a:moveTo>
                    <a:pt x="154" y="218"/>
                  </a:moveTo>
                  <a:cubicBezTo>
                    <a:pt x="154" y="221"/>
                    <a:pt x="151" y="224"/>
                    <a:pt x="147" y="224"/>
                  </a:cubicBezTo>
                  <a:cubicBezTo>
                    <a:pt x="96" y="224"/>
                    <a:pt x="96" y="224"/>
                    <a:pt x="96" y="224"/>
                  </a:cubicBezTo>
                  <a:cubicBezTo>
                    <a:pt x="92" y="224"/>
                    <a:pt x="90" y="221"/>
                    <a:pt x="90" y="218"/>
                  </a:cubicBezTo>
                  <a:cubicBezTo>
                    <a:pt x="90" y="214"/>
                    <a:pt x="92" y="211"/>
                    <a:pt x="96" y="211"/>
                  </a:cubicBezTo>
                  <a:cubicBezTo>
                    <a:pt x="92" y="175"/>
                    <a:pt x="54" y="167"/>
                    <a:pt x="54" y="125"/>
                  </a:cubicBezTo>
                  <a:cubicBezTo>
                    <a:pt x="54" y="88"/>
                    <a:pt x="84" y="58"/>
                    <a:pt x="122" y="58"/>
                  </a:cubicBezTo>
                  <a:cubicBezTo>
                    <a:pt x="159" y="58"/>
                    <a:pt x="189" y="88"/>
                    <a:pt x="189" y="125"/>
                  </a:cubicBezTo>
                  <a:cubicBezTo>
                    <a:pt x="189" y="167"/>
                    <a:pt x="152" y="175"/>
                    <a:pt x="148" y="211"/>
                  </a:cubicBezTo>
                  <a:cubicBezTo>
                    <a:pt x="151" y="211"/>
                    <a:pt x="154" y="214"/>
                    <a:pt x="154" y="218"/>
                  </a:cubicBezTo>
                  <a:close/>
                  <a:moveTo>
                    <a:pt x="107" y="76"/>
                  </a:moveTo>
                  <a:cubicBezTo>
                    <a:pt x="106" y="73"/>
                    <a:pt x="103" y="72"/>
                    <a:pt x="101" y="73"/>
                  </a:cubicBezTo>
                  <a:cubicBezTo>
                    <a:pt x="84" y="80"/>
                    <a:pt x="72" y="94"/>
                    <a:pt x="67" y="111"/>
                  </a:cubicBezTo>
                  <a:cubicBezTo>
                    <a:pt x="67" y="113"/>
                    <a:pt x="68" y="116"/>
                    <a:pt x="71" y="117"/>
                  </a:cubicBezTo>
                  <a:cubicBezTo>
                    <a:pt x="71" y="117"/>
                    <a:pt x="72" y="117"/>
                    <a:pt x="72" y="117"/>
                  </a:cubicBezTo>
                  <a:cubicBezTo>
                    <a:pt x="74" y="117"/>
                    <a:pt x="76" y="115"/>
                    <a:pt x="77" y="113"/>
                  </a:cubicBezTo>
                  <a:cubicBezTo>
                    <a:pt x="80" y="99"/>
                    <a:pt x="91" y="87"/>
                    <a:pt x="104" y="82"/>
                  </a:cubicBezTo>
                  <a:cubicBezTo>
                    <a:pt x="107" y="81"/>
                    <a:pt x="108" y="78"/>
                    <a:pt x="107" y="76"/>
                  </a:cubicBezTo>
                  <a:close/>
                </a:path>
              </a:pathLst>
            </a:custGeom>
            <a:solidFill>
              <a:srgbClr val="F5C05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69" name="矩形 68"/>
          <p:cNvSpPr/>
          <p:nvPr/>
        </p:nvSpPr>
        <p:spPr>
          <a:xfrm>
            <a:off x="4124008" y="3790002"/>
            <a:ext cx="1800493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</a:rPr>
              <a:t>无法及时准</a:t>
            </a:r>
            <a:r>
              <a:rPr kumimoji="1" lang="zh-CN" altLang="en-US" sz="1400" b="1" dirty="0" smtClean="0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</a:rPr>
              <a:t>确地发现</a:t>
            </a:r>
            <a:endParaRPr kumimoji="1" lang="en-US" altLang="zh-CN" sz="1400" b="1" dirty="0">
              <a:solidFill>
                <a:schemeClr val="bg1">
                  <a:lumMod val="50000"/>
                </a:schemeClr>
              </a:solidFill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</a:rPr>
              <a:t>资产出</a:t>
            </a:r>
            <a:r>
              <a:rPr kumimoji="1" lang="zh-CN" altLang="en-US" sz="1400" b="1" dirty="0" smtClean="0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</a:rPr>
              <a:t>现的异常情况</a:t>
            </a:r>
            <a:endParaRPr kumimoji="1" lang="en-US" altLang="zh-CN" sz="1400" b="1" dirty="0">
              <a:solidFill>
                <a:schemeClr val="bg1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7308304" y="3018531"/>
            <a:ext cx="693998" cy="693998"/>
            <a:chOff x="7308304" y="2982060"/>
            <a:chExt cx="693998" cy="693998"/>
          </a:xfrm>
        </p:grpSpPr>
        <p:sp>
          <p:nvSpPr>
            <p:cNvPr id="70" name="Oval 7"/>
            <p:cNvSpPr>
              <a:spLocks noChangeArrowheads="1"/>
            </p:cNvSpPr>
            <p:nvPr/>
          </p:nvSpPr>
          <p:spPr bwMode="auto">
            <a:xfrm>
              <a:off x="7308304" y="2982060"/>
              <a:ext cx="693998" cy="693998"/>
            </a:xfrm>
            <a:prstGeom prst="ellipse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2700000" scaled="0"/>
              </a:gradFill>
            </a:ln>
            <a:effectLst>
              <a:outerShdw blurRad="1651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/>
            </a:p>
          </p:txBody>
        </p:sp>
        <p:sp>
          <p:nvSpPr>
            <p:cNvPr id="71" name="Freeform 261"/>
            <p:cNvSpPr/>
            <p:nvPr/>
          </p:nvSpPr>
          <p:spPr bwMode="auto">
            <a:xfrm>
              <a:off x="7474470" y="3189194"/>
              <a:ext cx="361666" cy="361666"/>
            </a:xfrm>
            <a:custGeom>
              <a:avLst/>
              <a:gdLst>
                <a:gd name="T0" fmla="*/ 84 w 86"/>
                <a:gd name="T1" fmla="*/ 13 h 86"/>
                <a:gd name="T2" fmla="*/ 74 w 86"/>
                <a:gd name="T3" fmla="*/ 1 h 86"/>
                <a:gd name="T4" fmla="*/ 72 w 86"/>
                <a:gd name="T5" fmla="*/ 1 h 86"/>
                <a:gd name="T6" fmla="*/ 71 w 86"/>
                <a:gd name="T7" fmla="*/ 1 h 86"/>
                <a:gd name="T8" fmla="*/ 69 w 86"/>
                <a:gd name="T9" fmla="*/ 4 h 86"/>
                <a:gd name="T10" fmla="*/ 69 w 86"/>
                <a:gd name="T11" fmla="*/ 10 h 86"/>
                <a:gd name="T12" fmla="*/ 59 w 86"/>
                <a:gd name="T13" fmla="*/ 10 h 86"/>
                <a:gd name="T14" fmla="*/ 59 w 86"/>
                <a:gd name="T15" fmla="*/ 1 h 86"/>
                <a:gd name="T16" fmla="*/ 58 w 86"/>
                <a:gd name="T17" fmla="*/ 0 h 86"/>
                <a:gd name="T18" fmla="*/ 46 w 86"/>
                <a:gd name="T19" fmla="*/ 0 h 86"/>
                <a:gd name="T20" fmla="*/ 45 w 86"/>
                <a:gd name="T21" fmla="*/ 1 h 86"/>
                <a:gd name="T22" fmla="*/ 45 w 86"/>
                <a:gd name="T23" fmla="*/ 10 h 86"/>
                <a:gd name="T24" fmla="*/ 44 w 86"/>
                <a:gd name="T25" fmla="*/ 13 h 86"/>
                <a:gd name="T26" fmla="*/ 44 w 86"/>
                <a:gd name="T27" fmla="*/ 21 h 86"/>
                <a:gd name="T28" fmla="*/ 45 w 86"/>
                <a:gd name="T29" fmla="*/ 24 h 86"/>
                <a:gd name="T30" fmla="*/ 45 w 86"/>
                <a:gd name="T31" fmla="*/ 27 h 86"/>
                <a:gd name="T32" fmla="*/ 37 w 86"/>
                <a:gd name="T33" fmla="*/ 27 h 86"/>
                <a:gd name="T34" fmla="*/ 37 w 86"/>
                <a:gd name="T35" fmla="*/ 21 h 86"/>
                <a:gd name="T36" fmla="*/ 34 w 86"/>
                <a:gd name="T37" fmla="*/ 18 h 86"/>
                <a:gd name="T38" fmla="*/ 32 w 86"/>
                <a:gd name="T39" fmla="*/ 18 h 86"/>
                <a:gd name="T40" fmla="*/ 29 w 86"/>
                <a:gd name="T41" fmla="*/ 18 h 86"/>
                <a:gd name="T42" fmla="*/ 3 w 86"/>
                <a:gd name="T43" fmla="*/ 30 h 86"/>
                <a:gd name="T44" fmla="*/ 0 w 86"/>
                <a:gd name="T45" fmla="*/ 34 h 86"/>
                <a:gd name="T46" fmla="*/ 3 w 86"/>
                <a:gd name="T47" fmla="*/ 38 h 86"/>
                <a:gd name="T48" fmla="*/ 29 w 86"/>
                <a:gd name="T49" fmla="*/ 50 h 86"/>
                <a:gd name="T50" fmla="*/ 31 w 86"/>
                <a:gd name="T51" fmla="*/ 51 h 86"/>
                <a:gd name="T52" fmla="*/ 34 w 86"/>
                <a:gd name="T53" fmla="*/ 50 h 86"/>
                <a:gd name="T54" fmla="*/ 37 w 86"/>
                <a:gd name="T55" fmla="*/ 47 h 86"/>
                <a:gd name="T56" fmla="*/ 37 w 86"/>
                <a:gd name="T57" fmla="*/ 42 h 86"/>
                <a:gd name="T58" fmla="*/ 45 w 86"/>
                <a:gd name="T59" fmla="*/ 42 h 86"/>
                <a:gd name="T60" fmla="*/ 45 w 86"/>
                <a:gd name="T61" fmla="*/ 85 h 86"/>
                <a:gd name="T62" fmla="*/ 46 w 86"/>
                <a:gd name="T63" fmla="*/ 86 h 86"/>
                <a:gd name="T64" fmla="*/ 58 w 86"/>
                <a:gd name="T65" fmla="*/ 86 h 86"/>
                <a:gd name="T66" fmla="*/ 59 w 86"/>
                <a:gd name="T67" fmla="*/ 85 h 86"/>
                <a:gd name="T68" fmla="*/ 59 w 86"/>
                <a:gd name="T69" fmla="*/ 41 h 86"/>
                <a:gd name="T70" fmla="*/ 62 w 86"/>
                <a:gd name="T71" fmla="*/ 38 h 86"/>
                <a:gd name="T72" fmla="*/ 62 w 86"/>
                <a:gd name="T73" fmla="*/ 30 h 86"/>
                <a:gd name="T74" fmla="*/ 59 w 86"/>
                <a:gd name="T75" fmla="*/ 27 h 86"/>
                <a:gd name="T76" fmla="*/ 59 w 86"/>
                <a:gd name="T77" fmla="*/ 25 h 86"/>
                <a:gd name="T78" fmla="*/ 69 w 86"/>
                <a:gd name="T79" fmla="*/ 25 h 86"/>
                <a:gd name="T80" fmla="*/ 69 w 86"/>
                <a:gd name="T81" fmla="*/ 30 h 86"/>
                <a:gd name="T82" fmla="*/ 71 w 86"/>
                <a:gd name="T83" fmla="*/ 33 h 86"/>
                <a:gd name="T84" fmla="*/ 73 w 86"/>
                <a:gd name="T85" fmla="*/ 34 h 86"/>
                <a:gd name="T86" fmla="*/ 74 w 86"/>
                <a:gd name="T87" fmla="*/ 33 h 86"/>
                <a:gd name="T88" fmla="*/ 84 w 86"/>
                <a:gd name="T89" fmla="*/ 21 h 86"/>
                <a:gd name="T90" fmla="*/ 86 w 86"/>
                <a:gd name="T91" fmla="*/ 17 h 86"/>
                <a:gd name="T92" fmla="*/ 84 w 86"/>
                <a:gd name="T93" fmla="*/ 1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6" h="86">
                  <a:moveTo>
                    <a:pt x="84" y="13"/>
                  </a:moveTo>
                  <a:cubicBezTo>
                    <a:pt x="74" y="1"/>
                    <a:pt x="74" y="1"/>
                    <a:pt x="74" y="1"/>
                  </a:cubicBezTo>
                  <a:cubicBezTo>
                    <a:pt x="73" y="1"/>
                    <a:pt x="73" y="1"/>
                    <a:pt x="72" y="1"/>
                  </a:cubicBezTo>
                  <a:cubicBezTo>
                    <a:pt x="72" y="1"/>
                    <a:pt x="71" y="1"/>
                    <a:pt x="71" y="1"/>
                  </a:cubicBezTo>
                  <a:cubicBezTo>
                    <a:pt x="70" y="2"/>
                    <a:pt x="69" y="3"/>
                    <a:pt x="69" y="4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0"/>
                    <a:pt x="58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5" y="1"/>
                    <a:pt x="45" y="1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4" y="11"/>
                    <a:pt x="44" y="12"/>
                    <a:pt x="44" y="13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2"/>
                    <a:pt x="44" y="23"/>
                    <a:pt x="45" y="24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0"/>
                    <a:pt x="36" y="19"/>
                    <a:pt x="34" y="18"/>
                  </a:cubicBezTo>
                  <a:cubicBezTo>
                    <a:pt x="34" y="18"/>
                    <a:pt x="33" y="18"/>
                    <a:pt x="32" y="18"/>
                  </a:cubicBezTo>
                  <a:cubicBezTo>
                    <a:pt x="31" y="18"/>
                    <a:pt x="30" y="18"/>
                    <a:pt x="29" y="1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1" y="31"/>
                    <a:pt x="0" y="33"/>
                    <a:pt x="0" y="34"/>
                  </a:cubicBezTo>
                  <a:cubicBezTo>
                    <a:pt x="0" y="36"/>
                    <a:pt x="1" y="38"/>
                    <a:pt x="3" y="38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1"/>
                    <a:pt x="30" y="51"/>
                    <a:pt x="31" y="51"/>
                  </a:cubicBezTo>
                  <a:cubicBezTo>
                    <a:pt x="32" y="51"/>
                    <a:pt x="33" y="51"/>
                    <a:pt x="34" y="50"/>
                  </a:cubicBezTo>
                  <a:cubicBezTo>
                    <a:pt x="36" y="50"/>
                    <a:pt x="37" y="48"/>
                    <a:pt x="37" y="47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6"/>
                    <a:pt x="45" y="86"/>
                    <a:pt x="46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9" y="86"/>
                    <a:pt x="59" y="86"/>
                    <a:pt x="59" y="85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61" y="41"/>
                    <a:pt x="62" y="40"/>
                    <a:pt x="62" y="38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29"/>
                    <a:pt x="61" y="28"/>
                    <a:pt x="59" y="2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9" y="31"/>
                    <a:pt x="70" y="33"/>
                    <a:pt x="71" y="33"/>
                  </a:cubicBezTo>
                  <a:cubicBezTo>
                    <a:pt x="71" y="34"/>
                    <a:pt x="72" y="34"/>
                    <a:pt x="73" y="34"/>
                  </a:cubicBezTo>
                  <a:cubicBezTo>
                    <a:pt x="73" y="34"/>
                    <a:pt x="74" y="34"/>
                    <a:pt x="74" y="33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85" y="21"/>
                    <a:pt x="86" y="19"/>
                    <a:pt x="86" y="17"/>
                  </a:cubicBezTo>
                  <a:cubicBezTo>
                    <a:pt x="86" y="16"/>
                    <a:pt x="85" y="14"/>
                    <a:pt x="84" y="13"/>
                  </a:cubicBezTo>
                  <a:close/>
                </a:path>
              </a:pathLst>
            </a:custGeom>
            <a:solidFill>
              <a:srgbClr val="FF6D6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72" name="矩形 71"/>
          <p:cNvSpPr/>
          <p:nvPr/>
        </p:nvSpPr>
        <p:spPr>
          <a:xfrm>
            <a:off x="6800933" y="3790002"/>
            <a:ext cx="1800494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</a:rPr>
              <a:t>支</a:t>
            </a:r>
            <a:r>
              <a:rPr kumimoji="1" lang="zh-CN" altLang="en-US" sz="1400" b="1" dirty="0" smtClean="0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</a:rPr>
              <a:t>付退款流程中</a:t>
            </a:r>
            <a:endParaRPr kumimoji="1" lang="en-US" altLang="zh-CN" sz="1400" b="1" dirty="0">
              <a:solidFill>
                <a:schemeClr val="bg1">
                  <a:lumMod val="50000"/>
                </a:schemeClr>
              </a:solidFill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</a:rPr>
              <a:t>缺</a:t>
            </a:r>
            <a:r>
              <a:rPr kumimoji="1" lang="zh-CN" altLang="en-US" sz="1400" b="1" dirty="0" smtClean="0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</a:rPr>
              <a:t>乏有效地风险管控</a:t>
            </a:r>
            <a:endParaRPr kumimoji="1" lang="en-US" altLang="zh-CN" sz="1400" b="1" dirty="0">
              <a:solidFill>
                <a:schemeClr val="bg1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2046208" y="3018531"/>
            <a:ext cx="693998" cy="693998"/>
            <a:chOff x="1761024" y="2931790"/>
            <a:chExt cx="693998" cy="693998"/>
          </a:xfrm>
        </p:grpSpPr>
        <p:sp>
          <p:nvSpPr>
            <p:cNvPr id="63" name="Oval 7"/>
            <p:cNvSpPr>
              <a:spLocks noChangeArrowheads="1"/>
            </p:cNvSpPr>
            <p:nvPr/>
          </p:nvSpPr>
          <p:spPr bwMode="auto">
            <a:xfrm>
              <a:off x="1761024" y="2931790"/>
              <a:ext cx="693998" cy="693998"/>
            </a:xfrm>
            <a:prstGeom prst="ellipse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2700000" scaled="0"/>
              </a:gradFill>
            </a:ln>
            <a:effectLst>
              <a:outerShdw blurRad="1651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/>
            </a:p>
          </p:txBody>
        </p:sp>
        <p:sp>
          <p:nvSpPr>
            <p:cNvPr id="73" name="Freeform 18"/>
            <p:cNvSpPr>
              <a:spLocks noEditPoints="1"/>
            </p:cNvSpPr>
            <p:nvPr/>
          </p:nvSpPr>
          <p:spPr bwMode="auto">
            <a:xfrm>
              <a:off x="1882706" y="3070917"/>
              <a:ext cx="476357" cy="394673"/>
            </a:xfrm>
            <a:custGeom>
              <a:avLst/>
              <a:gdLst/>
              <a:ahLst/>
              <a:cxnLst>
                <a:cxn ang="0">
                  <a:pos x="1000" y="335"/>
                </a:cxn>
                <a:cxn ang="0">
                  <a:pos x="1130" y="44"/>
                </a:cxn>
                <a:cxn ang="0">
                  <a:pos x="892" y="91"/>
                </a:cxn>
                <a:cxn ang="0">
                  <a:pos x="664" y="57"/>
                </a:cxn>
                <a:cxn ang="0">
                  <a:pos x="807" y="343"/>
                </a:cxn>
                <a:cxn ang="0">
                  <a:pos x="822" y="1394"/>
                </a:cxn>
                <a:cxn ang="0">
                  <a:pos x="1000" y="335"/>
                </a:cxn>
                <a:cxn ang="0">
                  <a:pos x="1098" y="988"/>
                </a:cxn>
                <a:cxn ang="0">
                  <a:pos x="1052" y="1069"/>
                </a:cxn>
                <a:cxn ang="0">
                  <a:pos x="957" y="1102"/>
                </a:cxn>
                <a:cxn ang="0">
                  <a:pos x="957" y="1138"/>
                </a:cxn>
                <a:cxn ang="0">
                  <a:pos x="946" y="1163"/>
                </a:cxn>
                <a:cxn ang="0">
                  <a:pos x="910" y="1168"/>
                </a:cxn>
                <a:cxn ang="0">
                  <a:pos x="890" y="1138"/>
                </a:cxn>
                <a:cxn ang="0">
                  <a:pos x="890" y="1099"/>
                </a:cxn>
                <a:cxn ang="0">
                  <a:pos x="873" y="1095"/>
                </a:cxn>
                <a:cxn ang="0">
                  <a:pos x="792" y="1045"/>
                </a:cxn>
                <a:cxn ang="0">
                  <a:pos x="766" y="1003"/>
                </a:cxn>
                <a:cxn ang="0">
                  <a:pos x="762" y="991"/>
                </a:cxn>
                <a:cxn ang="0">
                  <a:pos x="759" y="979"/>
                </a:cxn>
                <a:cxn ang="0">
                  <a:pos x="763" y="961"/>
                </a:cxn>
                <a:cxn ang="0">
                  <a:pos x="796" y="943"/>
                </a:cxn>
                <a:cxn ang="0">
                  <a:pos x="825" y="966"/>
                </a:cxn>
                <a:cxn ang="0">
                  <a:pos x="828" y="977"/>
                </a:cxn>
                <a:cxn ang="0">
                  <a:pos x="833" y="988"/>
                </a:cxn>
                <a:cxn ang="0">
                  <a:pos x="848" y="1007"/>
                </a:cxn>
                <a:cxn ang="0">
                  <a:pos x="890" y="1030"/>
                </a:cxn>
                <a:cxn ang="0">
                  <a:pos x="890" y="898"/>
                </a:cxn>
                <a:cxn ang="0">
                  <a:pos x="803" y="860"/>
                </a:cxn>
                <a:cxn ang="0">
                  <a:pos x="773" y="824"/>
                </a:cxn>
                <a:cxn ang="0">
                  <a:pos x="763" y="776"/>
                </a:cxn>
                <a:cxn ang="0">
                  <a:pos x="773" y="728"/>
                </a:cxn>
                <a:cxn ang="0">
                  <a:pos x="800" y="690"/>
                </a:cxn>
                <a:cxn ang="0">
                  <a:pos x="890" y="650"/>
                </a:cxn>
                <a:cxn ang="0">
                  <a:pos x="890" y="613"/>
                </a:cxn>
                <a:cxn ang="0">
                  <a:pos x="902" y="588"/>
                </a:cxn>
                <a:cxn ang="0">
                  <a:pos x="938" y="583"/>
                </a:cxn>
                <a:cxn ang="0">
                  <a:pos x="957" y="613"/>
                </a:cxn>
                <a:cxn ang="0">
                  <a:pos x="957" y="650"/>
                </a:cxn>
                <a:cxn ang="0">
                  <a:pos x="970" y="652"/>
                </a:cxn>
                <a:cxn ang="0">
                  <a:pos x="1058" y="694"/>
                </a:cxn>
                <a:cxn ang="0">
                  <a:pos x="1085" y="733"/>
                </a:cxn>
                <a:cxn ang="0">
                  <a:pos x="1089" y="745"/>
                </a:cxn>
                <a:cxn ang="0">
                  <a:pos x="1092" y="757"/>
                </a:cxn>
                <a:cxn ang="0">
                  <a:pos x="1090" y="776"/>
                </a:cxn>
                <a:cxn ang="0">
                  <a:pos x="1058" y="795"/>
                </a:cxn>
                <a:cxn ang="0">
                  <a:pos x="1028" y="774"/>
                </a:cxn>
                <a:cxn ang="0">
                  <a:pos x="1025" y="763"/>
                </a:cxn>
                <a:cxn ang="0">
                  <a:pos x="1019" y="752"/>
                </a:cxn>
                <a:cxn ang="0">
                  <a:pos x="1003" y="736"/>
                </a:cxn>
                <a:cxn ang="0">
                  <a:pos x="957" y="718"/>
                </a:cxn>
                <a:cxn ang="0">
                  <a:pos x="957" y="844"/>
                </a:cxn>
                <a:cxn ang="0">
                  <a:pos x="1015" y="861"/>
                </a:cxn>
                <a:cxn ang="0">
                  <a:pos x="1084" y="916"/>
                </a:cxn>
                <a:cxn ang="0">
                  <a:pos x="1084" y="916"/>
                </a:cxn>
                <a:cxn ang="0">
                  <a:pos x="1084" y="916"/>
                </a:cxn>
                <a:cxn ang="0">
                  <a:pos x="1098" y="988"/>
                </a:cxn>
                <a:cxn ang="0">
                  <a:pos x="1098" y="988"/>
                </a:cxn>
                <a:cxn ang="0">
                  <a:pos x="1098" y="988"/>
                </a:cxn>
              </a:cxnLst>
              <a:rect l="0" t="0" r="r" b="b"/>
              <a:pathLst>
                <a:path w="1960" h="1477">
                  <a:moveTo>
                    <a:pt x="1000" y="335"/>
                  </a:moveTo>
                  <a:cubicBezTo>
                    <a:pt x="1104" y="248"/>
                    <a:pt x="1173" y="53"/>
                    <a:pt x="1130" y="44"/>
                  </a:cubicBezTo>
                  <a:cubicBezTo>
                    <a:pt x="1074" y="33"/>
                    <a:pt x="951" y="83"/>
                    <a:pt x="892" y="91"/>
                  </a:cubicBezTo>
                  <a:cubicBezTo>
                    <a:pt x="808" y="102"/>
                    <a:pt x="716" y="0"/>
                    <a:pt x="664" y="57"/>
                  </a:cubicBezTo>
                  <a:cubicBezTo>
                    <a:pt x="623" y="103"/>
                    <a:pt x="694" y="270"/>
                    <a:pt x="807" y="343"/>
                  </a:cubicBezTo>
                  <a:cubicBezTo>
                    <a:pt x="472" y="507"/>
                    <a:pt x="0" y="1334"/>
                    <a:pt x="822" y="1394"/>
                  </a:cubicBezTo>
                  <a:cubicBezTo>
                    <a:pt x="1960" y="1477"/>
                    <a:pt x="1390" y="496"/>
                    <a:pt x="1000" y="335"/>
                  </a:cubicBezTo>
                  <a:close/>
                  <a:moveTo>
                    <a:pt x="1098" y="988"/>
                  </a:moveTo>
                  <a:cubicBezTo>
                    <a:pt x="1094" y="1020"/>
                    <a:pt x="1077" y="1049"/>
                    <a:pt x="1052" y="1069"/>
                  </a:cubicBezTo>
                  <a:cubicBezTo>
                    <a:pt x="1025" y="1090"/>
                    <a:pt x="991" y="1099"/>
                    <a:pt x="957" y="1102"/>
                  </a:cubicBezTo>
                  <a:cubicBezTo>
                    <a:pt x="957" y="1138"/>
                    <a:pt x="957" y="1138"/>
                    <a:pt x="957" y="1138"/>
                  </a:cubicBezTo>
                  <a:cubicBezTo>
                    <a:pt x="957" y="1147"/>
                    <a:pt x="953" y="1156"/>
                    <a:pt x="946" y="1163"/>
                  </a:cubicBezTo>
                  <a:cubicBezTo>
                    <a:pt x="936" y="1171"/>
                    <a:pt x="922" y="1174"/>
                    <a:pt x="910" y="1168"/>
                  </a:cubicBezTo>
                  <a:cubicBezTo>
                    <a:pt x="898" y="1163"/>
                    <a:pt x="890" y="1151"/>
                    <a:pt x="890" y="1138"/>
                  </a:cubicBezTo>
                  <a:cubicBezTo>
                    <a:pt x="890" y="1099"/>
                    <a:pt x="890" y="1099"/>
                    <a:pt x="890" y="1099"/>
                  </a:cubicBezTo>
                  <a:cubicBezTo>
                    <a:pt x="885" y="1098"/>
                    <a:pt x="879" y="1096"/>
                    <a:pt x="873" y="1095"/>
                  </a:cubicBezTo>
                  <a:cubicBezTo>
                    <a:pt x="842" y="1086"/>
                    <a:pt x="813" y="1069"/>
                    <a:pt x="792" y="1045"/>
                  </a:cubicBezTo>
                  <a:cubicBezTo>
                    <a:pt x="781" y="1032"/>
                    <a:pt x="772" y="1018"/>
                    <a:pt x="766" y="1003"/>
                  </a:cubicBezTo>
                  <a:cubicBezTo>
                    <a:pt x="765" y="999"/>
                    <a:pt x="763" y="995"/>
                    <a:pt x="762" y="991"/>
                  </a:cubicBezTo>
                  <a:cubicBezTo>
                    <a:pt x="761" y="987"/>
                    <a:pt x="760" y="983"/>
                    <a:pt x="759" y="979"/>
                  </a:cubicBezTo>
                  <a:cubicBezTo>
                    <a:pt x="759" y="973"/>
                    <a:pt x="760" y="966"/>
                    <a:pt x="763" y="961"/>
                  </a:cubicBezTo>
                  <a:cubicBezTo>
                    <a:pt x="769" y="949"/>
                    <a:pt x="782" y="942"/>
                    <a:pt x="796" y="943"/>
                  </a:cubicBezTo>
                  <a:cubicBezTo>
                    <a:pt x="809" y="944"/>
                    <a:pt x="820" y="953"/>
                    <a:pt x="825" y="966"/>
                  </a:cubicBezTo>
                  <a:cubicBezTo>
                    <a:pt x="826" y="969"/>
                    <a:pt x="827" y="973"/>
                    <a:pt x="828" y="977"/>
                  </a:cubicBezTo>
                  <a:cubicBezTo>
                    <a:pt x="830" y="981"/>
                    <a:pt x="831" y="985"/>
                    <a:pt x="833" y="988"/>
                  </a:cubicBezTo>
                  <a:cubicBezTo>
                    <a:pt x="837" y="995"/>
                    <a:pt x="842" y="1001"/>
                    <a:pt x="848" y="1007"/>
                  </a:cubicBezTo>
                  <a:cubicBezTo>
                    <a:pt x="860" y="1018"/>
                    <a:pt x="875" y="1026"/>
                    <a:pt x="890" y="1030"/>
                  </a:cubicBezTo>
                  <a:cubicBezTo>
                    <a:pt x="890" y="898"/>
                    <a:pt x="890" y="898"/>
                    <a:pt x="890" y="898"/>
                  </a:cubicBezTo>
                  <a:cubicBezTo>
                    <a:pt x="860" y="890"/>
                    <a:pt x="828" y="880"/>
                    <a:pt x="803" y="860"/>
                  </a:cubicBezTo>
                  <a:cubicBezTo>
                    <a:pt x="790" y="850"/>
                    <a:pt x="780" y="838"/>
                    <a:pt x="773" y="824"/>
                  </a:cubicBezTo>
                  <a:cubicBezTo>
                    <a:pt x="766" y="809"/>
                    <a:pt x="763" y="793"/>
                    <a:pt x="763" y="776"/>
                  </a:cubicBezTo>
                  <a:cubicBezTo>
                    <a:pt x="763" y="760"/>
                    <a:pt x="766" y="743"/>
                    <a:pt x="773" y="728"/>
                  </a:cubicBezTo>
                  <a:cubicBezTo>
                    <a:pt x="779" y="714"/>
                    <a:pt x="789" y="701"/>
                    <a:pt x="800" y="690"/>
                  </a:cubicBezTo>
                  <a:cubicBezTo>
                    <a:pt x="825" y="668"/>
                    <a:pt x="858" y="655"/>
                    <a:pt x="890" y="650"/>
                  </a:cubicBezTo>
                  <a:cubicBezTo>
                    <a:pt x="890" y="613"/>
                    <a:pt x="890" y="613"/>
                    <a:pt x="890" y="613"/>
                  </a:cubicBezTo>
                  <a:cubicBezTo>
                    <a:pt x="890" y="604"/>
                    <a:pt x="895" y="595"/>
                    <a:pt x="902" y="588"/>
                  </a:cubicBezTo>
                  <a:cubicBezTo>
                    <a:pt x="912" y="580"/>
                    <a:pt x="926" y="577"/>
                    <a:pt x="938" y="583"/>
                  </a:cubicBezTo>
                  <a:cubicBezTo>
                    <a:pt x="950" y="588"/>
                    <a:pt x="957" y="600"/>
                    <a:pt x="957" y="613"/>
                  </a:cubicBezTo>
                  <a:cubicBezTo>
                    <a:pt x="957" y="650"/>
                    <a:pt x="957" y="650"/>
                    <a:pt x="957" y="650"/>
                  </a:cubicBezTo>
                  <a:cubicBezTo>
                    <a:pt x="962" y="651"/>
                    <a:pt x="966" y="651"/>
                    <a:pt x="970" y="652"/>
                  </a:cubicBezTo>
                  <a:cubicBezTo>
                    <a:pt x="1003" y="658"/>
                    <a:pt x="1034" y="671"/>
                    <a:pt x="1058" y="694"/>
                  </a:cubicBezTo>
                  <a:cubicBezTo>
                    <a:pt x="1069" y="705"/>
                    <a:pt x="1078" y="719"/>
                    <a:pt x="1085" y="733"/>
                  </a:cubicBezTo>
                  <a:cubicBezTo>
                    <a:pt x="1086" y="737"/>
                    <a:pt x="1088" y="741"/>
                    <a:pt x="1089" y="745"/>
                  </a:cubicBezTo>
                  <a:cubicBezTo>
                    <a:pt x="1091" y="749"/>
                    <a:pt x="1092" y="753"/>
                    <a:pt x="1092" y="757"/>
                  </a:cubicBezTo>
                  <a:cubicBezTo>
                    <a:pt x="1093" y="763"/>
                    <a:pt x="1092" y="770"/>
                    <a:pt x="1090" y="776"/>
                  </a:cubicBezTo>
                  <a:cubicBezTo>
                    <a:pt x="1084" y="788"/>
                    <a:pt x="1071" y="796"/>
                    <a:pt x="1058" y="795"/>
                  </a:cubicBezTo>
                  <a:cubicBezTo>
                    <a:pt x="1045" y="795"/>
                    <a:pt x="1033" y="786"/>
                    <a:pt x="1028" y="774"/>
                  </a:cubicBezTo>
                  <a:cubicBezTo>
                    <a:pt x="1027" y="770"/>
                    <a:pt x="1026" y="766"/>
                    <a:pt x="1025" y="763"/>
                  </a:cubicBezTo>
                  <a:cubicBezTo>
                    <a:pt x="1023" y="759"/>
                    <a:pt x="1021" y="756"/>
                    <a:pt x="1019" y="752"/>
                  </a:cubicBezTo>
                  <a:cubicBezTo>
                    <a:pt x="1015" y="746"/>
                    <a:pt x="1010" y="740"/>
                    <a:pt x="1003" y="736"/>
                  </a:cubicBezTo>
                  <a:cubicBezTo>
                    <a:pt x="990" y="726"/>
                    <a:pt x="974" y="721"/>
                    <a:pt x="957" y="718"/>
                  </a:cubicBezTo>
                  <a:cubicBezTo>
                    <a:pt x="957" y="844"/>
                    <a:pt x="957" y="844"/>
                    <a:pt x="957" y="844"/>
                  </a:cubicBezTo>
                  <a:cubicBezTo>
                    <a:pt x="977" y="849"/>
                    <a:pt x="996" y="854"/>
                    <a:pt x="1015" y="861"/>
                  </a:cubicBezTo>
                  <a:cubicBezTo>
                    <a:pt x="1043" y="872"/>
                    <a:pt x="1069" y="889"/>
                    <a:pt x="1084" y="916"/>
                  </a:cubicBezTo>
                  <a:cubicBezTo>
                    <a:pt x="1082" y="912"/>
                    <a:pt x="1080" y="908"/>
                    <a:pt x="1084" y="916"/>
                  </a:cubicBezTo>
                  <a:cubicBezTo>
                    <a:pt x="1089" y="924"/>
                    <a:pt x="1087" y="920"/>
                    <a:pt x="1084" y="916"/>
                  </a:cubicBezTo>
                  <a:cubicBezTo>
                    <a:pt x="1097" y="938"/>
                    <a:pt x="1101" y="963"/>
                    <a:pt x="1098" y="988"/>
                  </a:cubicBezTo>
                  <a:close/>
                  <a:moveTo>
                    <a:pt x="1098" y="988"/>
                  </a:moveTo>
                  <a:cubicBezTo>
                    <a:pt x="1098" y="988"/>
                    <a:pt x="1098" y="988"/>
                    <a:pt x="1098" y="988"/>
                  </a:cubicBezTo>
                </a:path>
              </a:pathLst>
            </a:custGeom>
            <a:solidFill>
              <a:srgbClr val="BD392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1604614" y="1779662"/>
            <a:ext cx="629710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600" b="1" dirty="0" smtClean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黑产持续利用技术手段寻找系统的漏洞，既能享受到订餐的服务，又能够实现退款退券，财务风险巨大</a:t>
            </a:r>
            <a:endParaRPr lang="en-US" altLang="zh-CN" sz="1600" b="1" dirty="0">
              <a:solidFill>
                <a:schemeClr val="bg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79512" y="789550"/>
            <a:ext cx="781658" cy="18542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600" dirty="0" smtClean="0"/>
              <a:t>背</a:t>
            </a:r>
            <a:endParaRPr lang="en-US" altLang="zh-CN" sz="3600" dirty="0" smtClean="0"/>
          </a:p>
          <a:p>
            <a:pPr algn="ctr"/>
            <a:r>
              <a:rPr lang="zh-CN" altLang="en-US" sz="3600" dirty="0" smtClean="0"/>
              <a:t>景</a:t>
            </a:r>
            <a:endParaRPr lang="zh-CN" altLang="en-US" sz="3600" dirty="0"/>
          </a:p>
        </p:txBody>
      </p:sp>
      <p:sp>
        <p:nvSpPr>
          <p:cNvPr id="18" name="矩形 17"/>
          <p:cNvSpPr/>
          <p:nvPr/>
        </p:nvSpPr>
        <p:spPr>
          <a:xfrm>
            <a:off x="1043607" y="2776157"/>
            <a:ext cx="7627357" cy="185420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>
            <a:off x="179512" y="2764710"/>
            <a:ext cx="781658" cy="18542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600" dirty="0" smtClean="0"/>
              <a:t>问题</a:t>
            </a:r>
            <a:endParaRPr lang="zh-CN" altLang="en-US" sz="3600" dirty="0"/>
          </a:p>
        </p:txBody>
      </p:sp>
      <p:sp>
        <p:nvSpPr>
          <p:cNvPr id="20" name="文本框 19"/>
          <p:cNvSpPr txBox="1"/>
          <p:nvPr/>
        </p:nvSpPr>
        <p:spPr>
          <a:xfrm>
            <a:off x="1562965" y="915566"/>
            <a:ext cx="710799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600" b="1" dirty="0" smtClean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支付中心一期上线后，解决了线上退款营运效率和用户退款体验问题，</a:t>
            </a:r>
            <a:endParaRPr lang="en-US" altLang="zh-CN" sz="1600" b="1" dirty="0" smtClean="0">
              <a:solidFill>
                <a:schemeClr val="bg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b="1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b="1" dirty="0" smtClean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    </a:t>
            </a:r>
            <a:r>
              <a:rPr lang="zh-CN" altLang="en-US" sz="1600" b="1" dirty="0" smtClean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正向的支付标准及支付模型尚在规划中</a:t>
            </a:r>
            <a:endParaRPr lang="en-US" altLang="zh-CN" sz="1600" b="1" dirty="0" smtClean="0">
              <a:solidFill>
                <a:schemeClr val="bg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59756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8"/>
          <p:cNvSpPr txBox="1">
            <a:spLocks noChangeArrowheads="1"/>
          </p:cNvSpPr>
          <p:nvPr/>
        </p:nvSpPr>
        <p:spPr bwMode="gray">
          <a:xfrm>
            <a:off x="-21913" y="195486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 smtClean="0">
                <a:latin typeface="+mj-ea"/>
                <a:ea typeface="+mj-ea"/>
                <a:cs typeface="微软雅黑" panose="020B0503020204020204" charset="-122"/>
                <a:sym typeface="+mn-ea"/>
              </a:rPr>
              <a:t>我们的目标</a:t>
            </a:r>
            <a:endParaRPr lang="zh-CN" altLang="en-US" sz="2000" b="1" dirty="0">
              <a:latin typeface="+mj-ea"/>
              <a:cs typeface="微软雅黑" panose="020B0503020204020204" charset="-122"/>
              <a:sym typeface="+mn-ea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6665877" y="2112197"/>
            <a:ext cx="1716901" cy="2403769"/>
            <a:chOff x="6228184" y="1572468"/>
            <a:chExt cx="2126778" cy="2803057"/>
          </a:xfrm>
        </p:grpSpPr>
        <p:sp>
          <p:nvSpPr>
            <p:cNvPr id="4" name="Freeform 19"/>
            <p:cNvSpPr/>
            <p:nvPr/>
          </p:nvSpPr>
          <p:spPr bwMode="auto">
            <a:xfrm>
              <a:off x="6385828" y="2942593"/>
              <a:ext cx="875972" cy="916580"/>
            </a:xfrm>
            <a:custGeom>
              <a:avLst/>
              <a:gdLst>
                <a:gd name="T0" fmla="*/ 0 w 453"/>
                <a:gd name="T1" fmla="*/ 0 h 474"/>
                <a:gd name="T2" fmla="*/ 453 w 453"/>
                <a:gd name="T3" fmla="*/ 194 h 474"/>
                <a:gd name="T4" fmla="*/ 453 w 453"/>
                <a:gd name="T5" fmla="*/ 474 h 474"/>
                <a:gd name="T6" fmla="*/ 0 w 453"/>
                <a:gd name="T7" fmla="*/ 277 h 474"/>
                <a:gd name="T8" fmla="*/ 0 w 453"/>
                <a:gd name="T9" fmla="*/ 0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474">
                  <a:moveTo>
                    <a:pt x="0" y="0"/>
                  </a:moveTo>
                  <a:lnTo>
                    <a:pt x="453" y="194"/>
                  </a:lnTo>
                  <a:lnTo>
                    <a:pt x="453" y="474"/>
                  </a:lnTo>
                  <a:lnTo>
                    <a:pt x="0" y="27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grpSp>
          <p:nvGrpSpPr>
            <p:cNvPr id="5" name="组合 4"/>
            <p:cNvGrpSpPr/>
            <p:nvPr/>
          </p:nvGrpSpPr>
          <p:grpSpPr>
            <a:xfrm>
              <a:off x="6228184" y="2567453"/>
              <a:ext cx="2126778" cy="1808072"/>
              <a:chOff x="5017467" y="3703905"/>
              <a:chExt cx="2126778" cy="1808072"/>
            </a:xfrm>
          </p:grpSpPr>
          <p:sp>
            <p:nvSpPr>
              <p:cNvPr id="6" name="椭圆 5"/>
              <p:cNvSpPr>
                <a:spLocks noChangeAspect="1"/>
              </p:cNvSpPr>
              <p:nvPr/>
            </p:nvSpPr>
            <p:spPr>
              <a:xfrm>
                <a:off x="5017467" y="4572464"/>
                <a:ext cx="2126778" cy="939513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>
                <a:softEdge rad="2794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" name="Freeform 17"/>
              <p:cNvSpPr/>
              <p:nvPr/>
            </p:nvSpPr>
            <p:spPr bwMode="auto">
              <a:xfrm>
                <a:off x="6051082" y="4079045"/>
                <a:ext cx="875972" cy="916580"/>
              </a:xfrm>
              <a:custGeom>
                <a:avLst/>
                <a:gdLst>
                  <a:gd name="T0" fmla="*/ 453 w 453"/>
                  <a:gd name="T1" fmla="*/ 0 h 474"/>
                  <a:gd name="T2" fmla="*/ 0 w 453"/>
                  <a:gd name="T3" fmla="*/ 194 h 474"/>
                  <a:gd name="T4" fmla="*/ 0 w 453"/>
                  <a:gd name="T5" fmla="*/ 474 h 474"/>
                  <a:gd name="T6" fmla="*/ 453 w 453"/>
                  <a:gd name="T7" fmla="*/ 277 h 474"/>
                  <a:gd name="T8" fmla="*/ 453 w 453"/>
                  <a:gd name="T9" fmla="*/ 0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3" h="474">
                    <a:moveTo>
                      <a:pt x="453" y="0"/>
                    </a:moveTo>
                    <a:lnTo>
                      <a:pt x="0" y="194"/>
                    </a:lnTo>
                    <a:lnTo>
                      <a:pt x="0" y="474"/>
                    </a:lnTo>
                    <a:lnTo>
                      <a:pt x="453" y="277"/>
                    </a:lnTo>
                    <a:lnTo>
                      <a:pt x="453" y="0"/>
                    </a:lnTo>
                    <a:close/>
                  </a:path>
                </a:pathLst>
              </a:custGeom>
              <a:solidFill>
                <a:srgbClr val="94A3B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altLang="zh-CN" dirty="0"/>
              </a:p>
            </p:txBody>
          </p:sp>
          <p:sp>
            <p:nvSpPr>
              <p:cNvPr id="8" name="Freeform 18"/>
              <p:cNvSpPr/>
              <p:nvPr/>
            </p:nvSpPr>
            <p:spPr bwMode="auto">
              <a:xfrm>
                <a:off x="5175111" y="4079045"/>
                <a:ext cx="875972" cy="916580"/>
              </a:xfrm>
              <a:custGeom>
                <a:avLst/>
                <a:gdLst>
                  <a:gd name="T0" fmla="*/ 0 w 453"/>
                  <a:gd name="T1" fmla="*/ 0 h 474"/>
                  <a:gd name="T2" fmla="*/ 453 w 453"/>
                  <a:gd name="T3" fmla="*/ 194 h 474"/>
                  <a:gd name="T4" fmla="*/ 453 w 453"/>
                  <a:gd name="T5" fmla="*/ 474 h 474"/>
                  <a:gd name="T6" fmla="*/ 0 w 453"/>
                  <a:gd name="T7" fmla="*/ 277 h 474"/>
                  <a:gd name="T8" fmla="*/ 0 w 453"/>
                  <a:gd name="T9" fmla="*/ 0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3" h="474">
                    <a:moveTo>
                      <a:pt x="0" y="0"/>
                    </a:moveTo>
                    <a:lnTo>
                      <a:pt x="453" y="194"/>
                    </a:lnTo>
                    <a:lnTo>
                      <a:pt x="453" y="474"/>
                    </a:lnTo>
                    <a:lnTo>
                      <a:pt x="0" y="2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E779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9" name="Freeform 20"/>
              <p:cNvSpPr/>
              <p:nvPr/>
            </p:nvSpPr>
            <p:spPr bwMode="auto">
              <a:xfrm>
                <a:off x="5175111" y="3703905"/>
                <a:ext cx="1751943" cy="750280"/>
              </a:xfrm>
              <a:custGeom>
                <a:avLst/>
                <a:gdLst>
                  <a:gd name="T0" fmla="*/ 453 w 906"/>
                  <a:gd name="T1" fmla="*/ 0 h 388"/>
                  <a:gd name="T2" fmla="*/ 0 w 906"/>
                  <a:gd name="T3" fmla="*/ 194 h 388"/>
                  <a:gd name="T4" fmla="*/ 453 w 906"/>
                  <a:gd name="T5" fmla="*/ 388 h 388"/>
                  <a:gd name="T6" fmla="*/ 906 w 906"/>
                  <a:gd name="T7" fmla="*/ 194 h 388"/>
                  <a:gd name="T8" fmla="*/ 453 w 906"/>
                  <a:gd name="T9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6" h="388">
                    <a:moveTo>
                      <a:pt x="453" y="0"/>
                    </a:moveTo>
                    <a:lnTo>
                      <a:pt x="0" y="194"/>
                    </a:lnTo>
                    <a:lnTo>
                      <a:pt x="453" y="388"/>
                    </a:lnTo>
                    <a:lnTo>
                      <a:pt x="906" y="194"/>
                    </a:lnTo>
                    <a:lnTo>
                      <a:pt x="453" y="0"/>
                    </a:lnTo>
                    <a:close/>
                  </a:path>
                </a:pathLst>
              </a:custGeom>
              <a:gradFill>
                <a:gsLst>
                  <a:gs pos="0">
                    <a:srgbClr val="EFF0F1"/>
                  </a:gs>
                  <a:gs pos="100000">
                    <a:srgbClr val="F9F9F9"/>
                  </a:gs>
                </a:gsLst>
                <a:lin ang="16800000" scaled="0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10" name="文本框 9"/>
            <p:cNvSpPr txBox="1"/>
            <p:nvPr/>
          </p:nvSpPr>
          <p:spPr>
            <a:xfrm>
              <a:off x="6228184" y="1572468"/>
              <a:ext cx="2103040" cy="762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 marL="0" lvl="1" algn="ctr"/>
              <a:r>
                <a:rPr lang="zh-CN" altLang="en-US" sz="2400" b="1" dirty="0" smtClean="0">
                  <a:solidFill>
                    <a:srgbClr val="5E779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标</a:t>
              </a:r>
              <a:endParaRPr lang="en-US" altLang="zh-CN" sz="2400" b="1" dirty="0">
                <a:solidFill>
                  <a:srgbClr val="5E779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lvl="1" algn="ctr"/>
              <a:r>
                <a:rPr lang="zh-CN" altLang="en-US" sz="1400" dirty="0">
                  <a:solidFill>
                    <a:srgbClr val="5E779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我们怎么做</a:t>
              </a:r>
              <a:r>
                <a:rPr lang="zh-CN" altLang="en-US" sz="1400" dirty="0">
                  <a:solidFill>
                    <a:schemeClr val="bg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</a:p>
          </p:txBody>
        </p:sp>
        <p:sp>
          <p:nvSpPr>
            <p:cNvPr id="11" name="KSO_Shape"/>
            <p:cNvSpPr/>
            <p:nvPr/>
          </p:nvSpPr>
          <p:spPr bwMode="auto">
            <a:xfrm>
              <a:off x="6975947" y="2364556"/>
              <a:ext cx="664715" cy="658069"/>
            </a:xfrm>
            <a:custGeom>
              <a:avLst/>
              <a:gdLst>
                <a:gd name="T0" fmla="*/ 615878 w 2390775"/>
                <a:gd name="T1" fmla="*/ 1467970 h 2365376"/>
                <a:gd name="T2" fmla="*/ 587250 w 2390775"/>
                <a:gd name="T3" fmla="*/ 1401697 h 2365376"/>
                <a:gd name="T4" fmla="*/ 1282649 w 2390775"/>
                <a:gd name="T5" fmla="*/ 1393474 h 2365376"/>
                <a:gd name="T6" fmla="*/ 1180915 w 2390775"/>
                <a:gd name="T7" fmla="*/ 1446870 h 2365376"/>
                <a:gd name="T8" fmla="*/ 1210073 w 2390775"/>
                <a:gd name="T9" fmla="*/ 1382167 h 2365376"/>
                <a:gd name="T10" fmla="*/ 653657 w 2390775"/>
                <a:gd name="T11" fmla="*/ 1314699 h 2365376"/>
                <a:gd name="T12" fmla="*/ 646041 w 2390775"/>
                <a:gd name="T13" fmla="*/ 1180275 h 2365376"/>
                <a:gd name="T14" fmla="*/ 589870 w 2390775"/>
                <a:gd name="T15" fmla="*/ 1105327 h 2365376"/>
                <a:gd name="T16" fmla="*/ 599516 w 2390775"/>
                <a:gd name="T17" fmla="*/ 1141280 h 2365376"/>
                <a:gd name="T18" fmla="*/ 579914 w 2390775"/>
                <a:gd name="T19" fmla="*/ 1158779 h 2365376"/>
                <a:gd name="T20" fmla="*/ 541333 w 2390775"/>
                <a:gd name="T21" fmla="*/ 1105965 h 2365376"/>
                <a:gd name="T22" fmla="*/ 1137260 w 2390775"/>
                <a:gd name="T23" fmla="*/ 1009231 h 2365376"/>
                <a:gd name="T24" fmla="*/ 1143562 w 2390775"/>
                <a:gd name="T25" fmla="*/ 1026145 h 2365376"/>
                <a:gd name="T26" fmla="*/ 1096615 w 2390775"/>
                <a:gd name="T27" fmla="*/ 1069549 h 2365376"/>
                <a:gd name="T28" fmla="*/ 1102602 w 2390775"/>
                <a:gd name="T29" fmla="*/ 1001572 h 2365376"/>
                <a:gd name="T30" fmla="*/ 972739 w 2390775"/>
                <a:gd name="T31" fmla="*/ 835988 h 2365376"/>
                <a:gd name="T32" fmla="*/ 989500 w 2390775"/>
                <a:gd name="T33" fmla="*/ 1138672 h 2365376"/>
                <a:gd name="T34" fmla="*/ 639427 w 2390775"/>
                <a:gd name="T35" fmla="*/ 1423644 h 2365376"/>
                <a:gd name="T36" fmla="*/ 599898 w 2390775"/>
                <a:gd name="T37" fmla="*/ 1003302 h 2365376"/>
                <a:gd name="T38" fmla="*/ 529694 w 2390775"/>
                <a:gd name="T39" fmla="*/ 1090596 h 2365376"/>
                <a:gd name="T40" fmla="*/ 602428 w 2390775"/>
                <a:gd name="T41" fmla="*/ 868249 h 2365376"/>
                <a:gd name="T42" fmla="*/ 861740 w 2390775"/>
                <a:gd name="T43" fmla="*/ 924231 h 2365376"/>
                <a:gd name="T44" fmla="*/ 755609 w 2390775"/>
                <a:gd name="T45" fmla="*/ 542052 h 2365376"/>
                <a:gd name="T46" fmla="*/ 929665 w 2390775"/>
                <a:gd name="T47" fmla="*/ 525915 h 2365376"/>
                <a:gd name="T48" fmla="*/ 909019 w 2390775"/>
                <a:gd name="T49" fmla="*/ 571798 h 2365376"/>
                <a:gd name="T50" fmla="*/ 936652 w 2390775"/>
                <a:gd name="T51" fmla="*/ 586353 h 2365376"/>
                <a:gd name="T52" fmla="*/ 928394 w 2390775"/>
                <a:gd name="T53" fmla="*/ 688879 h 2365376"/>
                <a:gd name="T54" fmla="*/ 840414 w 2390775"/>
                <a:gd name="T55" fmla="*/ 772101 h 2365376"/>
                <a:gd name="T56" fmla="*/ 742269 w 2390775"/>
                <a:gd name="T57" fmla="*/ 675588 h 2365376"/>
                <a:gd name="T58" fmla="*/ 738139 w 2390775"/>
                <a:gd name="T59" fmla="*/ 608504 h 2365376"/>
                <a:gd name="T60" fmla="*/ 761643 w 2390775"/>
                <a:gd name="T61" fmla="*/ 510093 h 2365376"/>
                <a:gd name="T62" fmla="*/ 617010 w 2390775"/>
                <a:gd name="T63" fmla="*/ 449064 h 2365376"/>
                <a:gd name="T64" fmla="*/ 350272 w 2390775"/>
                <a:gd name="T65" fmla="*/ 638327 h 2365376"/>
                <a:gd name="T66" fmla="*/ 215163 w 2390775"/>
                <a:gd name="T67" fmla="*/ 939947 h 2365376"/>
                <a:gd name="T68" fmla="*/ 256613 w 2390775"/>
                <a:gd name="T69" fmla="*/ 1277331 h 2365376"/>
                <a:gd name="T70" fmla="*/ 458486 w 2390775"/>
                <a:gd name="T71" fmla="*/ 1534008 h 2365376"/>
                <a:gd name="T72" fmla="*/ 767308 w 2390775"/>
                <a:gd name="T73" fmla="*/ 1655225 h 2365376"/>
                <a:gd name="T74" fmla="*/ 1101127 w 2390775"/>
                <a:gd name="T75" fmla="*/ 1596674 h 2365376"/>
                <a:gd name="T76" fmla="*/ 1347614 w 2390775"/>
                <a:gd name="T77" fmla="*/ 1383040 h 2365376"/>
                <a:gd name="T78" fmla="*/ 1453614 w 2390775"/>
                <a:gd name="T79" fmla="*/ 1066861 h 2365376"/>
                <a:gd name="T80" fmla="*/ 1378939 w 2390775"/>
                <a:gd name="T81" fmla="*/ 738024 h 2365376"/>
                <a:gd name="T82" fmla="*/ 1153652 w 2390775"/>
                <a:gd name="T83" fmla="*/ 501602 h 2365376"/>
                <a:gd name="T84" fmla="*/ 831224 w 2390775"/>
                <a:gd name="T85" fmla="*/ 411085 h 2365376"/>
                <a:gd name="T86" fmla="*/ 989432 w 2390775"/>
                <a:gd name="T87" fmla="*/ 315187 h 2365376"/>
                <a:gd name="T88" fmla="*/ 1471649 w 2390775"/>
                <a:gd name="T89" fmla="*/ 671876 h 2365376"/>
                <a:gd name="T90" fmla="*/ 1554866 w 2390775"/>
                <a:gd name="T91" fmla="*/ 1171938 h 2365376"/>
                <a:gd name="T92" fmla="*/ 1239716 w 2390775"/>
                <a:gd name="T93" fmla="*/ 1647313 h 2365376"/>
                <a:gd name="T94" fmla="*/ 646121 w 2390775"/>
                <a:gd name="T95" fmla="*/ 1748275 h 2365376"/>
                <a:gd name="T96" fmla="*/ 110112 w 2390775"/>
                <a:gd name="T97" fmla="*/ 1186813 h 2365376"/>
                <a:gd name="T98" fmla="*/ 251551 w 2390775"/>
                <a:gd name="T99" fmla="*/ 580725 h 2365376"/>
                <a:gd name="T100" fmla="*/ 1549044 w 2390775"/>
                <a:gd name="T101" fmla="*/ 160116 h 2365376"/>
                <a:gd name="T102" fmla="*/ 1461002 w 2390775"/>
                <a:gd name="T103" fmla="*/ 284475 h 2365376"/>
                <a:gd name="T104" fmla="*/ 1550307 w 2390775"/>
                <a:gd name="T105" fmla="*/ 426554 h 2365376"/>
                <a:gd name="T106" fmla="*/ 1719764 w 2390775"/>
                <a:gd name="T107" fmla="*/ 380038 h 2365376"/>
                <a:gd name="T108" fmla="*/ 1735543 w 2390775"/>
                <a:gd name="T109" fmla="*/ 232579 h 2365376"/>
                <a:gd name="T110" fmla="*/ 1705909 w 2390775"/>
                <a:gd name="T111" fmla="*/ 94508 h 2365376"/>
                <a:gd name="T112" fmla="*/ 1774050 w 2390775"/>
                <a:gd name="T113" fmla="*/ 148403 h 2365376"/>
                <a:gd name="T114" fmla="*/ 1781614 w 2390775"/>
                <a:gd name="T115" fmla="*/ 428769 h 2365376"/>
                <a:gd name="T116" fmla="*/ 1600166 w 2390775"/>
                <a:gd name="T117" fmla="*/ 516104 h 2365376"/>
                <a:gd name="T118" fmla="*/ 1452167 w 2390775"/>
                <a:gd name="T119" fmla="*/ 455349 h 2365376"/>
                <a:gd name="T120" fmla="*/ 1310478 w 2390775"/>
                <a:gd name="T121" fmla="*/ 259477 h 2365376"/>
                <a:gd name="T122" fmla="*/ 1562614 w 2390775"/>
                <a:gd name="T123" fmla="*/ 74046 h 23653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390775" h="2365376">
                  <a:moveTo>
                    <a:pt x="761351" y="1739900"/>
                  </a:moveTo>
                  <a:lnTo>
                    <a:pt x="791690" y="1805294"/>
                  </a:lnTo>
                  <a:lnTo>
                    <a:pt x="794883" y="1808051"/>
                  </a:lnTo>
                  <a:lnTo>
                    <a:pt x="797278" y="1811991"/>
                  </a:lnTo>
                  <a:lnTo>
                    <a:pt x="800871" y="1817112"/>
                  </a:lnTo>
                  <a:lnTo>
                    <a:pt x="803266" y="1822233"/>
                  </a:lnTo>
                  <a:lnTo>
                    <a:pt x="804065" y="1825384"/>
                  </a:lnTo>
                  <a:lnTo>
                    <a:pt x="804863" y="1828536"/>
                  </a:lnTo>
                  <a:lnTo>
                    <a:pt x="804863" y="1831687"/>
                  </a:lnTo>
                  <a:lnTo>
                    <a:pt x="804863" y="1834839"/>
                  </a:lnTo>
                  <a:lnTo>
                    <a:pt x="804065" y="1837990"/>
                  </a:lnTo>
                  <a:lnTo>
                    <a:pt x="802867" y="1841142"/>
                  </a:lnTo>
                  <a:lnTo>
                    <a:pt x="801670" y="1842718"/>
                  </a:lnTo>
                  <a:lnTo>
                    <a:pt x="799674" y="1844687"/>
                  </a:lnTo>
                  <a:lnTo>
                    <a:pt x="797278" y="1845475"/>
                  </a:lnTo>
                  <a:lnTo>
                    <a:pt x="794484" y="1845869"/>
                  </a:lnTo>
                  <a:lnTo>
                    <a:pt x="790891" y="1846263"/>
                  </a:lnTo>
                  <a:lnTo>
                    <a:pt x="787698" y="1845869"/>
                  </a:lnTo>
                  <a:lnTo>
                    <a:pt x="784105" y="1845475"/>
                  </a:lnTo>
                  <a:lnTo>
                    <a:pt x="780512" y="1844293"/>
                  </a:lnTo>
                  <a:lnTo>
                    <a:pt x="776520" y="1842718"/>
                  </a:lnTo>
                  <a:lnTo>
                    <a:pt x="772927" y="1841142"/>
                  </a:lnTo>
                  <a:lnTo>
                    <a:pt x="768935" y="1839172"/>
                  </a:lnTo>
                  <a:lnTo>
                    <a:pt x="765343" y="1836809"/>
                  </a:lnTo>
                  <a:lnTo>
                    <a:pt x="761750" y="1834051"/>
                  </a:lnTo>
                  <a:lnTo>
                    <a:pt x="758955" y="1831294"/>
                  </a:lnTo>
                  <a:lnTo>
                    <a:pt x="756161" y="1827748"/>
                  </a:lnTo>
                  <a:lnTo>
                    <a:pt x="754165" y="1824597"/>
                  </a:lnTo>
                  <a:lnTo>
                    <a:pt x="748975" y="1815536"/>
                  </a:lnTo>
                  <a:lnTo>
                    <a:pt x="745782" y="1808839"/>
                  </a:lnTo>
                  <a:lnTo>
                    <a:pt x="743387" y="1803718"/>
                  </a:lnTo>
                  <a:lnTo>
                    <a:pt x="742588" y="1799385"/>
                  </a:lnTo>
                  <a:lnTo>
                    <a:pt x="742588" y="1795051"/>
                  </a:lnTo>
                  <a:lnTo>
                    <a:pt x="743387" y="1790718"/>
                  </a:lnTo>
                  <a:lnTo>
                    <a:pt x="746181" y="1778112"/>
                  </a:lnTo>
                  <a:lnTo>
                    <a:pt x="746979" y="1774173"/>
                  </a:lnTo>
                  <a:lnTo>
                    <a:pt x="746979" y="1772203"/>
                  </a:lnTo>
                  <a:lnTo>
                    <a:pt x="746181" y="1771021"/>
                  </a:lnTo>
                  <a:lnTo>
                    <a:pt x="745383" y="1770627"/>
                  </a:lnTo>
                  <a:lnTo>
                    <a:pt x="742987" y="1770627"/>
                  </a:lnTo>
                  <a:lnTo>
                    <a:pt x="742189" y="1770233"/>
                  </a:lnTo>
                  <a:lnTo>
                    <a:pt x="741790" y="1769839"/>
                  </a:lnTo>
                  <a:lnTo>
                    <a:pt x="738596" y="1761961"/>
                  </a:lnTo>
                  <a:lnTo>
                    <a:pt x="736999" y="1758021"/>
                  </a:lnTo>
                  <a:lnTo>
                    <a:pt x="736600" y="1756052"/>
                  </a:lnTo>
                  <a:lnTo>
                    <a:pt x="736600" y="1754476"/>
                  </a:lnTo>
                  <a:lnTo>
                    <a:pt x="742189" y="1750536"/>
                  </a:lnTo>
                  <a:lnTo>
                    <a:pt x="747379" y="1747385"/>
                  </a:lnTo>
                  <a:lnTo>
                    <a:pt x="750971" y="1745021"/>
                  </a:lnTo>
                  <a:lnTo>
                    <a:pt x="754165" y="1743839"/>
                  </a:lnTo>
                  <a:lnTo>
                    <a:pt x="758556" y="1741870"/>
                  </a:lnTo>
                  <a:lnTo>
                    <a:pt x="759754" y="1741870"/>
                  </a:lnTo>
                  <a:lnTo>
                    <a:pt x="761351" y="1739900"/>
                  </a:lnTo>
                  <a:close/>
                  <a:moveTo>
                    <a:pt x="1554438" y="1730375"/>
                  </a:moveTo>
                  <a:lnTo>
                    <a:pt x="1565575" y="1730375"/>
                  </a:lnTo>
                  <a:lnTo>
                    <a:pt x="1575916" y="1730375"/>
                  </a:lnTo>
                  <a:lnTo>
                    <a:pt x="1586258" y="1731163"/>
                  </a:lnTo>
                  <a:lnTo>
                    <a:pt x="1591031" y="1731951"/>
                  </a:lnTo>
                  <a:lnTo>
                    <a:pt x="1595008" y="1733133"/>
                  </a:lnTo>
                  <a:lnTo>
                    <a:pt x="1598986" y="1734314"/>
                  </a:lnTo>
                  <a:lnTo>
                    <a:pt x="1602168" y="1735890"/>
                  </a:lnTo>
                  <a:lnTo>
                    <a:pt x="1605350" y="1737860"/>
                  </a:lnTo>
                  <a:lnTo>
                    <a:pt x="1607339" y="1739830"/>
                  </a:lnTo>
                  <a:lnTo>
                    <a:pt x="1608929" y="1741799"/>
                  </a:lnTo>
                  <a:lnTo>
                    <a:pt x="1609725" y="1744951"/>
                  </a:lnTo>
                  <a:lnTo>
                    <a:pt x="1609725" y="1747708"/>
                  </a:lnTo>
                  <a:lnTo>
                    <a:pt x="1608929" y="1751648"/>
                  </a:lnTo>
                  <a:lnTo>
                    <a:pt x="1607339" y="1755193"/>
                  </a:lnTo>
                  <a:lnTo>
                    <a:pt x="1604554" y="1759920"/>
                  </a:lnTo>
                  <a:lnTo>
                    <a:pt x="1600577" y="1764648"/>
                  </a:lnTo>
                  <a:lnTo>
                    <a:pt x="1595804" y="1769769"/>
                  </a:lnTo>
                  <a:lnTo>
                    <a:pt x="1589042" y="1776072"/>
                  </a:lnTo>
                  <a:lnTo>
                    <a:pt x="1582678" y="1781193"/>
                  </a:lnTo>
                  <a:lnTo>
                    <a:pt x="1576314" y="1786314"/>
                  </a:lnTo>
                  <a:lnTo>
                    <a:pt x="1570348" y="1790647"/>
                  </a:lnTo>
                  <a:lnTo>
                    <a:pt x="1563586" y="1794193"/>
                  </a:lnTo>
                  <a:lnTo>
                    <a:pt x="1557222" y="1797738"/>
                  </a:lnTo>
                  <a:lnTo>
                    <a:pt x="1550461" y="1800496"/>
                  </a:lnTo>
                  <a:lnTo>
                    <a:pt x="1544097" y="1802466"/>
                  </a:lnTo>
                  <a:lnTo>
                    <a:pt x="1537733" y="1804829"/>
                  </a:lnTo>
                  <a:lnTo>
                    <a:pt x="1530971" y="1806799"/>
                  </a:lnTo>
                  <a:lnTo>
                    <a:pt x="1524607" y="1807981"/>
                  </a:lnTo>
                  <a:lnTo>
                    <a:pt x="1518243" y="1809163"/>
                  </a:lnTo>
                  <a:lnTo>
                    <a:pt x="1505117" y="1811132"/>
                  </a:lnTo>
                  <a:lnTo>
                    <a:pt x="1491992" y="1812314"/>
                  </a:lnTo>
                  <a:lnTo>
                    <a:pt x="1486026" y="1813102"/>
                  </a:lnTo>
                  <a:lnTo>
                    <a:pt x="1483241" y="1813890"/>
                  </a:lnTo>
                  <a:lnTo>
                    <a:pt x="1482048" y="1814678"/>
                  </a:lnTo>
                  <a:lnTo>
                    <a:pt x="1481253" y="1815072"/>
                  </a:lnTo>
                  <a:lnTo>
                    <a:pt x="1480855" y="1815859"/>
                  </a:lnTo>
                  <a:lnTo>
                    <a:pt x="1480855" y="1817041"/>
                  </a:lnTo>
                  <a:lnTo>
                    <a:pt x="1481253" y="1818617"/>
                  </a:lnTo>
                  <a:lnTo>
                    <a:pt x="1482048" y="1819799"/>
                  </a:lnTo>
                  <a:lnTo>
                    <a:pt x="1482048" y="1821375"/>
                  </a:lnTo>
                  <a:lnTo>
                    <a:pt x="1482048" y="1821769"/>
                  </a:lnTo>
                  <a:lnTo>
                    <a:pt x="1480855" y="1822556"/>
                  </a:lnTo>
                  <a:lnTo>
                    <a:pt x="1471309" y="1830829"/>
                  </a:lnTo>
                  <a:lnTo>
                    <a:pt x="1465343" y="1834375"/>
                  </a:lnTo>
                  <a:lnTo>
                    <a:pt x="1463354" y="1835556"/>
                  </a:lnTo>
                  <a:lnTo>
                    <a:pt x="1461365" y="1836738"/>
                  </a:lnTo>
                  <a:lnTo>
                    <a:pt x="1452615" y="1830041"/>
                  </a:lnTo>
                  <a:lnTo>
                    <a:pt x="1445853" y="1824132"/>
                  </a:lnTo>
                  <a:lnTo>
                    <a:pt x="1440285" y="1819405"/>
                  </a:lnTo>
                  <a:lnTo>
                    <a:pt x="1437103" y="1815072"/>
                  </a:lnTo>
                  <a:lnTo>
                    <a:pt x="1434716" y="1812314"/>
                  </a:lnTo>
                  <a:lnTo>
                    <a:pt x="1433125" y="1810344"/>
                  </a:lnTo>
                  <a:lnTo>
                    <a:pt x="1432330" y="1808375"/>
                  </a:lnTo>
                  <a:lnTo>
                    <a:pt x="1428750" y="1806799"/>
                  </a:lnTo>
                  <a:lnTo>
                    <a:pt x="1512675" y="1734314"/>
                  </a:lnTo>
                  <a:lnTo>
                    <a:pt x="1518641" y="1733527"/>
                  </a:lnTo>
                  <a:lnTo>
                    <a:pt x="1533755" y="1731951"/>
                  </a:lnTo>
                  <a:lnTo>
                    <a:pt x="1543699" y="1731163"/>
                  </a:lnTo>
                  <a:lnTo>
                    <a:pt x="1554438" y="1730375"/>
                  </a:lnTo>
                  <a:close/>
                  <a:moveTo>
                    <a:pt x="588962" y="1535113"/>
                  </a:moveTo>
                  <a:lnTo>
                    <a:pt x="694496" y="1535113"/>
                  </a:lnTo>
                  <a:lnTo>
                    <a:pt x="694496" y="1557872"/>
                  </a:lnTo>
                  <a:lnTo>
                    <a:pt x="694894" y="1558271"/>
                  </a:lnTo>
                  <a:lnTo>
                    <a:pt x="696885" y="1560268"/>
                  </a:lnTo>
                  <a:lnTo>
                    <a:pt x="698478" y="1560667"/>
                  </a:lnTo>
                  <a:lnTo>
                    <a:pt x="700469" y="1561466"/>
                  </a:lnTo>
                  <a:lnTo>
                    <a:pt x="704053" y="1561865"/>
                  </a:lnTo>
                  <a:lnTo>
                    <a:pt x="707239" y="1561865"/>
                  </a:lnTo>
                  <a:lnTo>
                    <a:pt x="711222" y="1561865"/>
                  </a:lnTo>
                  <a:lnTo>
                    <a:pt x="714407" y="1561466"/>
                  </a:lnTo>
                  <a:lnTo>
                    <a:pt x="716797" y="1560667"/>
                  </a:lnTo>
                  <a:lnTo>
                    <a:pt x="718390" y="1560268"/>
                  </a:lnTo>
                  <a:lnTo>
                    <a:pt x="720381" y="1558271"/>
                  </a:lnTo>
                  <a:lnTo>
                    <a:pt x="720779" y="1557872"/>
                  </a:lnTo>
                  <a:lnTo>
                    <a:pt x="720779" y="1535113"/>
                  </a:lnTo>
                  <a:lnTo>
                    <a:pt x="820737" y="1535113"/>
                  </a:lnTo>
                  <a:lnTo>
                    <a:pt x="820737" y="1644117"/>
                  </a:lnTo>
                  <a:lnTo>
                    <a:pt x="820339" y="1648908"/>
                  </a:lnTo>
                  <a:lnTo>
                    <a:pt x="819144" y="1652901"/>
                  </a:lnTo>
                  <a:lnTo>
                    <a:pt x="816755" y="1656894"/>
                  </a:lnTo>
                  <a:lnTo>
                    <a:pt x="814365" y="1660088"/>
                  </a:lnTo>
                  <a:lnTo>
                    <a:pt x="810781" y="1663283"/>
                  </a:lnTo>
                  <a:lnTo>
                    <a:pt x="806799" y="1665279"/>
                  </a:lnTo>
                  <a:lnTo>
                    <a:pt x="802418" y="1666477"/>
                  </a:lnTo>
                  <a:lnTo>
                    <a:pt x="797639" y="1666876"/>
                  </a:lnTo>
                  <a:lnTo>
                    <a:pt x="612060" y="1666876"/>
                  </a:lnTo>
                  <a:lnTo>
                    <a:pt x="607281" y="1666477"/>
                  </a:lnTo>
                  <a:lnTo>
                    <a:pt x="602901" y="1665279"/>
                  </a:lnTo>
                  <a:lnTo>
                    <a:pt x="598918" y="1663283"/>
                  </a:lnTo>
                  <a:lnTo>
                    <a:pt x="595732" y="1660088"/>
                  </a:lnTo>
                  <a:lnTo>
                    <a:pt x="592546" y="1656894"/>
                  </a:lnTo>
                  <a:lnTo>
                    <a:pt x="590555" y="1652901"/>
                  </a:lnTo>
                  <a:lnTo>
                    <a:pt x="589360" y="1648908"/>
                  </a:lnTo>
                  <a:lnTo>
                    <a:pt x="588962" y="1644117"/>
                  </a:lnTo>
                  <a:lnTo>
                    <a:pt x="588962" y="1535113"/>
                  </a:lnTo>
                  <a:close/>
                  <a:moveTo>
                    <a:pt x="612060" y="1476375"/>
                  </a:moveTo>
                  <a:lnTo>
                    <a:pt x="797639" y="1476375"/>
                  </a:lnTo>
                  <a:lnTo>
                    <a:pt x="802418" y="1476769"/>
                  </a:lnTo>
                  <a:lnTo>
                    <a:pt x="806799" y="1477950"/>
                  </a:lnTo>
                  <a:lnTo>
                    <a:pt x="810781" y="1480312"/>
                  </a:lnTo>
                  <a:lnTo>
                    <a:pt x="814365" y="1483068"/>
                  </a:lnTo>
                  <a:lnTo>
                    <a:pt x="816755" y="1486611"/>
                  </a:lnTo>
                  <a:lnTo>
                    <a:pt x="819144" y="1490155"/>
                  </a:lnTo>
                  <a:lnTo>
                    <a:pt x="820339" y="1494485"/>
                  </a:lnTo>
                  <a:lnTo>
                    <a:pt x="820737" y="1498816"/>
                  </a:lnTo>
                  <a:lnTo>
                    <a:pt x="820737" y="1525588"/>
                  </a:lnTo>
                  <a:lnTo>
                    <a:pt x="588962" y="1525588"/>
                  </a:lnTo>
                  <a:lnTo>
                    <a:pt x="588962" y="1498816"/>
                  </a:lnTo>
                  <a:lnTo>
                    <a:pt x="589360" y="1494485"/>
                  </a:lnTo>
                  <a:lnTo>
                    <a:pt x="590555" y="1490155"/>
                  </a:lnTo>
                  <a:lnTo>
                    <a:pt x="592546" y="1486611"/>
                  </a:lnTo>
                  <a:lnTo>
                    <a:pt x="595732" y="1483068"/>
                  </a:lnTo>
                  <a:lnTo>
                    <a:pt x="598918" y="1480312"/>
                  </a:lnTo>
                  <a:lnTo>
                    <a:pt x="602901" y="1477950"/>
                  </a:lnTo>
                  <a:lnTo>
                    <a:pt x="607281" y="1476769"/>
                  </a:lnTo>
                  <a:lnTo>
                    <a:pt x="612060" y="1476375"/>
                  </a:lnTo>
                  <a:close/>
                  <a:moveTo>
                    <a:pt x="725449" y="1381125"/>
                  </a:moveTo>
                  <a:lnTo>
                    <a:pt x="730525" y="1381524"/>
                  </a:lnTo>
                  <a:lnTo>
                    <a:pt x="732087" y="1381524"/>
                  </a:lnTo>
                  <a:lnTo>
                    <a:pt x="734430" y="1382322"/>
                  </a:lnTo>
                  <a:lnTo>
                    <a:pt x="737554" y="1384317"/>
                  </a:lnTo>
                  <a:lnTo>
                    <a:pt x="740287" y="1386312"/>
                  </a:lnTo>
                  <a:lnTo>
                    <a:pt x="743411" y="1389505"/>
                  </a:lnTo>
                  <a:lnTo>
                    <a:pt x="746535" y="1393096"/>
                  </a:lnTo>
                  <a:lnTo>
                    <a:pt x="749659" y="1397486"/>
                  </a:lnTo>
                  <a:lnTo>
                    <a:pt x="755906" y="1407063"/>
                  </a:lnTo>
                  <a:lnTo>
                    <a:pt x="761373" y="1417837"/>
                  </a:lnTo>
                  <a:lnTo>
                    <a:pt x="766059" y="1427813"/>
                  </a:lnTo>
                  <a:lnTo>
                    <a:pt x="769182" y="1437390"/>
                  </a:lnTo>
                  <a:lnTo>
                    <a:pt x="770744" y="1441780"/>
                  </a:lnTo>
                  <a:lnTo>
                    <a:pt x="771525" y="1445770"/>
                  </a:lnTo>
                  <a:lnTo>
                    <a:pt x="771525" y="1448164"/>
                  </a:lnTo>
                  <a:lnTo>
                    <a:pt x="771525" y="1450159"/>
                  </a:lnTo>
                  <a:lnTo>
                    <a:pt x="770744" y="1451357"/>
                  </a:lnTo>
                  <a:lnTo>
                    <a:pt x="769182" y="1452155"/>
                  </a:lnTo>
                  <a:lnTo>
                    <a:pt x="768011" y="1452155"/>
                  </a:lnTo>
                  <a:lnTo>
                    <a:pt x="766449" y="1450958"/>
                  </a:lnTo>
                  <a:lnTo>
                    <a:pt x="764887" y="1449760"/>
                  </a:lnTo>
                  <a:lnTo>
                    <a:pt x="762544" y="1448563"/>
                  </a:lnTo>
                  <a:lnTo>
                    <a:pt x="759030" y="1444174"/>
                  </a:lnTo>
                  <a:lnTo>
                    <a:pt x="755516" y="1439784"/>
                  </a:lnTo>
                  <a:lnTo>
                    <a:pt x="753173" y="1434996"/>
                  </a:lnTo>
                  <a:lnTo>
                    <a:pt x="752392" y="1433400"/>
                  </a:lnTo>
                  <a:lnTo>
                    <a:pt x="752392" y="1431404"/>
                  </a:lnTo>
                  <a:lnTo>
                    <a:pt x="752001" y="1428611"/>
                  </a:lnTo>
                  <a:lnTo>
                    <a:pt x="750830" y="1426616"/>
                  </a:lnTo>
                  <a:lnTo>
                    <a:pt x="748878" y="1425419"/>
                  </a:lnTo>
                  <a:lnTo>
                    <a:pt x="746925" y="1425020"/>
                  </a:lnTo>
                  <a:lnTo>
                    <a:pt x="746144" y="1425419"/>
                  </a:lnTo>
                  <a:lnTo>
                    <a:pt x="745363" y="1425818"/>
                  </a:lnTo>
                  <a:lnTo>
                    <a:pt x="744582" y="1426616"/>
                  </a:lnTo>
                  <a:lnTo>
                    <a:pt x="743411" y="1427414"/>
                  </a:lnTo>
                  <a:lnTo>
                    <a:pt x="742630" y="1428611"/>
                  </a:lnTo>
                  <a:lnTo>
                    <a:pt x="742240" y="1430207"/>
                  </a:lnTo>
                  <a:lnTo>
                    <a:pt x="741849" y="1432602"/>
                  </a:lnTo>
                  <a:lnTo>
                    <a:pt x="741849" y="1434597"/>
                  </a:lnTo>
                  <a:lnTo>
                    <a:pt x="741459" y="1439385"/>
                  </a:lnTo>
                  <a:lnTo>
                    <a:pt x="740678" y="1443376"/>
                  </a:lnTo>
                  <a:lnTo>
                    <a:pt x="739897" y="1445371"/>
                  </a:lnTo>
                  <a:lnTo>
                    <a:pt x="739116" y="1446967"/>
                  </a:lnTo>
                  <a:lnTo>
                    <a:pt x="737944" y="1448164"/>
                  </a:lnTo>
                  <a:lnTo>
                    <a:pt x="735992" y="1449361"/>
                  </a:lnTo>
                  <a:lnTo>
                    <a:pt x="734430" y="1450558"/>
                  </a:lnTo>
                  <a:lnTo>
                    <a:pt x="732868" y="1452155"/>
                  </a:lnTo>
                  <a:lnTo>
                    <a:pt x="730525" y="1452953"/>
                  </a:lnTo>
                  <a:lnTo>
                    <a:pt x="727792" y="1453352"/>
                  </a:lnTo>
                  <a:lnTo>
                    <a:pt x="721935" y="1454150"/>
                  </a:lnTo>
                  <a:lnTo>
                    <a:pt x="715297" y="1454150"/>
                  </a:lnTo>
                  <a:lnTo>
                    <a:pt x="712173" y="1453751"/>
                  </a:lnTo>
                  <a:lnTo>
                    <a:pt x="709049" y="1452953"/>
                  </a:lnTo>
                  <a:lnTo>
                    <a:pt x="706706" y="1452155"/>
                  </a:lnTo>
                  <a:lnTo>
                    <a:pt x="703973" y="1450558"/>
                  </a:lnTo>
                  <a:lnTo>
                    <a:pt x="701240" y="1448962"/>
                  </a:lnTo>
                  <a:lnTo>
                    <a:pt x="699287" y="1447366"/>
                  </a:lnTo>
                  <a:lnTo>
                    <a:pt x="694992" y="1442977"/>
                  </a:lnTo>
                  <a:lnTo>
                    <a:pt x="691478" y="1438188"/>
                  </a:lnTo>
                  <a:lnTo>
                    <a:pt x="687963" y="1432602"/>
                  </a:lnTo>
                  <a:lnTo>
                    <a:pt x="685230" y="1427015"/>
                  </a:lnTo>
                  <a:lnTo>
                    <a:pt x="682497" y="1421029"/>
                  </a:lnTo>
                  <a:lnTo>
                    <a:pt x="680544" y="1415044"/>
                  </a:lnTo>
                  <a:lnTo>
                    <a:pt x="678982" y="1409058"/>
                  </a:lnTo>
                  <a:lnTo>
                    <a:pt x="676249" y="1399082"/>
                  </a:lnTo>
                  <a:lnTo>
                    <a:pt x="675078" y="1392298"/>
                  </a:lnTo>
                  <a:lnTo>
                    <a:pt x="674687" y="1389106"/>
                  </a:lnTo>
                  <a:lnTo>
                    <a:pt x="674687" y="1388707"/>
                  </a:lnTo>
                  <a:lnTo>
                    <a:pt x="675078" y="1388308"/>
                  </a:lnTo>
                  <a:lnTo>
                    <a:pt x="676249" y="1387909"/>
                  </a:lnTo>
                  <a:lnTo>
                    <a:pt x="679373" y="1387111"/>
                  </a:lnTo>
                  <a:lnTo>
                    <a:pt x="683278" y="1385913"/>
                  </a:lnTo>
                  <a:lnTo>
                    <a:pt x="689525" y="1384716"/>
                  </a:lnTo>
                  <a:lnTo>
                    <a:pt x="698897" y="1383120"/>
                  </a:lnTo>
                  <a:lnTo>
                    <a:pt x="715297" y="1381524"/>
                  </a:lnTo>
                  <a:lnTo>
                    <a:pt x="725449" y="1381125"/>
                  </a:lnTo>
                  <a:close/>
                  <a:moveTo>
                    <a:pt x="1433588" y="1247775"/>
                  </a:moveTo>
                  <a:lnTo>
                    <a:pt x="1439124" y="1247775"/>
                  </a:lnTo>
                  <a:lnTo>
                    <a:pt x="1444264" y="1248175"/>
                  </a:lnTo>
                  <a:lnTo>
                    <a:pt x="1448614" y="1248976"/>
                  </a:lnTo>
                  <a:lnTo>
                    <a:pt x="1451382" y="1249776"/>
                  </a:lnTo>
                  <a:lnTo>
                    <a:pt x="1453359" y="1250977"/>
                  </a:lnTo>
                  <a:lnTo>
                    <a:pt x="1454150" y="1252178"/>
                  </a:lnTo>
                  <a:lnTo>
                    <a:pt x="1454150" y="1253779"/>
                  </a:lnTo>
                  <a:lnTo>
                    <a:pt x="1453359" y="1255380"/>
                  </a:lnTo>
                  <a:lnTo>
                    <a:pt x="1452173" y="1256981"/>
                  </a:lnTo>
                  <a:lnTo>
                    <a:pt x="1450196" y="1258582"/>
                  </a:lnTo>
                  <a:lnTo>
                    <a:pt x="1447428" y="1260183"/>
                  </a:lnTo>
                  <a:lnTo>
                    <a:pt x="1441892" y="1262985"/>
                  </a:lnTo>
                  <a:lnTo>
                    <a:pt x="1435565" y="1264986"/>
                  </a:lnTo>
                  <a:lnTo>
                    <a:pt x="1432402" y="1265387"/>
                  </a:lnTo>
                  <a:lnTo>
                    <a:pt x="1429634" y="1265787"/>
                  </a:lnTo>
                  <a:lnTo>
                    <a:pt x="1427261" y="1265787"/>
                  </a:lnTo>
                  <a:lnTo>
                    <a:pt x="1425284" y="1265387"/>
                  </a:lnTo>
                  <a:lnTo>
                    <a:pt x="1423703" y="1264986"/>
                  </a:lnTo>
                  <a:lnTo>
                    <a:pt x="1422516" y="1264586"/>
                  </a:lnTo>
                  <a:lnTo>
                    <a:pt x="1420539" y="1264586"/>
                  </a:lnTo>
                  <a:lnTo>
                    <a:pt x="1419353" y="1264986"/>
                  </a:lnTo>
                  <a:lnTo>
                    <a:pt x="1418562" y="1265787"/>
                  </a:lnTo>
                  <a:lnTo>
                    <a:pt x="1417376" y="1266588"/>
                  </a:lnTo>
                  <a:lnTo>
                    <a:pt x="1416980" y="1267388"/>
                  </a:lnTo>
                  <a:lnTo>
                    <a:pt x="1416585" y="1268589"/>
                  </a:lnTo>
                  <a:lnTo>
                    <a:pt x="1416190" y="1269790"/>
                  </a:lnTo>
                  <a:lnTo>
                    <a:pt x="1416585" y="1270990"/>
                  </a:lnTo>
                  <a:lnTo>
                    <a:pt x="1416585" y="1272191"/>
                  </a:lnTo>
                  <a:lnTo>
                    <a:pt x="1417376" y="1273392"/>
                  </a:lnTo>
                  <a:lnTo>
                    <a:pt x="1418562" y="1274993"/>
                  </a:lnTo>
                  <a:lnTo>
                    <a:pt x="1419748" y="1276194"/>
                  </a:lnTo>
                  <a:lnTo>
                    <a:pt x="1422121" y="1277395"/>
                  </a:lnTo>
                  <a:lnTo>
                    <a:pt x="1424098" y="1278596"/>
                  </a:lnTo>
                  <a:lnTo>
                    <a:pt x="1428843" y="1280597"/>
                  </a:lnTo>
                  <a:lnTo>
                    <a:pt x="1430820" y="1282198"/>
                  </a:lnTo>
                  <a:lnTo>
                    <a:pt x="1432402" y="1283799"/>
                  </a:lnTo>
                  <a:lnTo>
                    <a:pt x="1433588" y="1285000"/>
                  </a:lnTo>
                  <a:lnTo>
                    <a:pt x="1435170" y="1287001"/>
                  </a:lnTo>
                  <a:lnTo>
                    <a:pt x="1436356" y="1289003"/>
                  </a:lnTo>
                  <a:lnTo>
                    <a:pt x="1436751" y="1291404"/>
                  </a:lnTo>
                  <a:lnTo>
                    <a:pt x="1437542" y="1293406"/>
                  </a:lnTo>
                  <a:lnTo>
                    <a:pt x="1437542" y="1296608"/>
                  </a:lnTo>
                  <a:lnTo>
                    <a:pt x="1437542" y="1299009"/>
                  </a:lnTo>
                  <a:lnTo>
                    <a:pt x="1437147" y="1302612"/>
                  </a:lnTo>
                  <a:lnTo>
                    <a:pt x="1436356" y="1305414"/>
                  </a:lnTo>
                  <a:lnTo>
                    <a:pt x="1435170" y="1309416"/>
                  </a:lnTo>
                  <a:lnTo>
                    <a:pt x="1431611" y="1317422"/>
                  </a:lnTo>
                  <a:lnTo>
                    <a:pt x="1430029" y="1320624"/>
                  </a:lnTo>
                  <a:lnTo>
                    <a:pt x="1428052" y="1323826"/>
                  </a:lnTo>
                  <a:lnTo>
                    <a:pt x="1425680" y="1326628"/>
                  </a:lnTo>
                  <a:lnTo>
                    <a:pt x="1423307" y="1328629"/>
                  </a:lnTo>
                  <a:lnTo>
                    <a:pt x="1420539" y="1331431"/>
                  </a:lnTo>
                  <a:lnTo>
                    <a:pt x="1417771" y="1333032"/>
                  </a:lnTo>
                  <a:lnTo>
                    <a:pt x="1414608" y="1334633"/>
                  </a:lnTo>
                  <a:lnTo>
                    <a:pt x="1411445" y="1336635"/>
                  </a:lnTo>
                  <a:lnTo>
                    <a:pt x="1404722" y="1338636"/>
                  </a:lnTo>
                  <a:lnTo>
                    <a:pt x="1397605" y="1340237"/>
                  </a:lnTo>
                  <a:lnTo>
                    <a:pt x="1390487" y="1341038"/>
                  </a:lnTo>
                  <a:lnTo>
                    <a:pt x="1383370" y="1341438"/>
                  </a:lnTo>
                  <a:lnTo>
                    <a:pt x="1376252" y="1341438"/>
                  </a:lnTo>
                  <a:lnTo>
                    <a:pt x="1369530" y="1341038"/>
                  </a:lnTo>
                  <a:lnTo>
                    <a:pt x="1358063" y="1339437"/>
                  </a:lnTo>
                  <a:lnTo>
                    <a:pt x="1350154" y="1338236"/>
                  </a:lnTo>
                  <a:lnTo>
                    <a:pt x="1347386" y="1337435"/>
                  </a:lnTo>
                  <a:lnTo>
                    <a:pt x="1347386" y="1337835"/>
                  </a:lnTo>
                  <a:lnTo>
                    <a:pt x="1346991" y="1337435"/>
                  </a:lnTo>
                  <a:lnTo>
                    <a:pt x="1346200" y="1337035"/>
                  </a:lnTo>
                  <a:lnTo>
                    <a:pt x="1346200" y="1334633"/>
                  </a:lnTo>
                  <a:lnTo>
                    <a:pt x="1346991" y="1331831"/>
                  </a:lnTo>
                  <a:lnTo>
                    <a:pt x="1347782" y="1326228"/>
                  </a:lnTo>
                  <a:lnTo>
                    <a:pt x="1349363" y="1318623"/>
                  </a:lnTo>
                  <a:lnTo>
                    <a:pt x="1351736" y="1307415"/>
                  </a:lnTo>
                  <a:lnTo>
                    <a:pt x="1355295" y="1296608"/>
                  </a:lnTo>
                  <a:lnTo>
                    <a:pt x="1357667" y="1287402"/>
                  </a:lnTo>
                  <a:lnTo>
                    <a:pt x="1361621" y="1275794"/>
                  </a:lnTo>
                  <a:lnTo>
                    <a:pt x="1363994" y="1270190"/>
                  </a:lnTo>
                  <a:lnTo>
                    <a:pt x="1364785" y="1268589"/>
                  </a:lnTo>
                  <a:lnTo>
                    <a:pt x="1366762" y="1265787"/>
                  </a:lnTo>
                  <a:lnTo>
                    <a:pt x="1369925" y="1262985"/>
                  </a:lnTo>
                  <a:lnTo>
                    <a:pt x="1373484" y="1260183"/>
                  </a:lnTo>
                  <a:lnTo>
                    <a:pt x="1378229" y="1258182"/>
                  </a:lnTo>
                  <a:lnTo>
                    <a:pt x="1383765" y="1256181"/>
                  </a:lnTo>
                  <a:lnTo>
                    <a:pt x="1389301" y="1253779"/>
                  </a:lnTo>
                  <a:lnTo>
                    <a:pt x="1395628" y="1252578"/>
                  </a:lnTo>
                  <a:lnTo>
                    <a:pt x="1401954" y="1250977"/>
                  </a:lnTo>
                  <a:lnTo>
                    <a:pt x="1415399" y="1248976"/>
                  </a:lnTo>
                  <a:lnTo>
                    <a:pt x="1428052" y="1248175"/>
                  </a:lnTo>
                  <a:lnTo>
                    <a:pt x="1433588" y="1247775"/>
                  </a:lnTo>
                  <a:close/>
                  <a:moveTo>
                    <a:pt x="1155700" y="965200"/>
                  </a:moveTo>
                  <a:lnTo>
                    <a:pt x="1161653" y="965597"/>
                  </a:lnTo>
                  <a:lnTo>
                    <a:pt x="1167209" y="966787"/>
                  </a:lnTo>
                  <a:lnTo>
                    <a:pt x="1172766" y="968770"/>
                  </a:lnTo>
                  <a:lnTo>
                    <a:pt x="1177925" y="971944"/>
                  </a:lnTo>
                  <a:lnTo>
                    <a:pt x="1182687" y="975514"/>
                  </a:lnTo>
                  <a:lnTo>
                    <a:pt x="1187450" y="980274"/>
                  </a:lnTo>
                  <a:lnTo>
                    <a:pt x="1192213" y="985431"/>
                  </a:lnTo>
                  <a:lnTo>
                    <a:pt x="1196181" y="991381"/>
                  </a:lnTo>
                  <a:lnTo>
                    <a:pt x="1200150" y="998125"/>
                  </a:lnTo>
                  <a:lnTo>
                    <a:pt x="1204119" y="1005265"/>
                  </a:lnTo>
                  <a:lnTo>
                    <a:pt x="1207691" y="1012802"/>
                  </a:lnTo>
                  <a:lnTo>
                    <a:pt x="1211659" y="1021133"/>
                  </a:lnTo>
                  <a:lnTo>
                    <a:pt x="1214437" y="1029860"/>
                  </a:lnTo>
                  <a:lnTo>
                    <a:pt x="1217613" y="1038984"/>
                  </a:lnTo>
                  <a:lnTo>
                    <a:pt x="1220787" y="1048504"/>
                  </a:lnTo>
                  <a:lnTo>
                    <a:pt x="1225947" y="1068338"/>
                  </a:lnTo>
                  <a:lnTo>
                    <a:pt x="1230313" y="1089363"/>
                  </a:lnTo>
                  <a:lnTo>
                    <a:pt x="1234678" y="1111180"/>
                  </a:lnTo>
                  <a:lnTo>
                    <a:pt x="1237853" y="1133792"/>
                  </a:lnTo>
                  <a:lnTo>
                    <a:pt x="1241028" y="1155609"/>
                  </a:lnTo>
                  <a:lnTo>
                    <a:pt x="1243013" y="1177824"/>
                  </a:lnTo>
                  <a:lnTo>
                    <a:pt x="1245394" y="1198848"/>
                  </a:lnTo>
                  <a:lnTo>
                    <a:pt x="1246981" y="1219476"/>
                  </a:lnTo>
                  <a:lnTo>
                    <a:pt x="1246187" y="1186551"/>
                  </a:lnTo>
                  <a:lnTo>
                    <a:pt x="1342231" y="1244467"/>
                  </a:lnTo>
                  <a:lnTo>
                    <a:pt x="1323181" y="1340465"/>
                  </a:lnTo>
                  <a:lnTo>
                    <a:pt x="1248966" y="1309524"/>
                  </a:lnTo>
                  <a:lnTo>
                    <a:pt x="1245394" y="1284929"/>
                  </a:lnTo>
                  <a:lnTo>
                    <a:pt x="1239441" y="1242087"/>
                  </a:lnTo>
                  <a:lnTo>
                    <a:pt x="1231106" y="1373787"/>
                  </a:lnTo>
                  <a:lnTo>
                    <a:pt x="1230709" y="1379737"/>
                  </a:lnTo>
                  <a:lnTo>
                    <a:pt x="1230313" y="1386084"/>
                  </a:lnTo>
                  <a:lnTo>
                    <a:pt x="1230709" y="1392431"/>
                  </a:lnTo>
                  <a:lnTo>
                    <a:pt x="1232297" y="1399968"/>
                  </a:lnTo>
                  <a:lnTo>
                    <a:pt x="1234281" y="1407902"/>
                  </a:lnTo>
                  <a:lnTo>
                    <a:pt x="1237059" y="1417422"/>
                  </a:lnTo>
                  <a:lnTo>
                    <a:pt x="1241822" y="1428133"/>
                  </a:lnTo>
                  <a:lnTo>
                    <a:pt x="1247775" y="1440430"/>
                  </a:lnTo>
                  <a:lnTo>
                    <a:pt x="1231106" y="1440430"/>
                  </a:lnTo>
                  <a:lnTo>
                    <a:pt x="1242219" y="1446380"/>
                  </a:lnTo>
                  <a:lnTo>
                    <a:pt x="1256109" y="1453124"/>
                  </a:lnTo>
                  <a:lnTo>
                    <a:pt x="1287066" y="1467405"/>
                  </a:lnTo>
                  <a:lnTo>
                    <a:pt x="1313259" y="1479305"/>
                  </a:lnTo>
                  <a:lnTo>
                    <a:pt x="1323975" y="1483669"/>
                  </a:lnTo>
                  <a:lnTo>
                    <a:pt x="1501775" y="1720491"/>
                  </a:lnTo>
                  <a:lnTo>
                    <a:pt x="1401763" y="1798638"/>
                  </a:lnTo>
                  <a:lnTo>
                    <a:pt x="1210469" y="1576494"/>
                  </a:lnTo>
                  <a:lnTo>
                    <a:pt x="1080294" y="1561816"/>
                  </a:lnTo>
                  <a:lnTo>
                    <a:pt x="1080294" y="1563800"/>
                  </a:lnTo>
                  <a:lnTo>
                    <a:pt x="1080294" y="1567370"/>
                  </a:lnTo>
                  <a:lnTo>
                    <a:pt x="1079500" y="1575700"/>
                  </a:lnTo>
                  <a:lnTo>
                    <a:pt x="1077516" y="1587601"/>
                  </a:lnTo>
                  <a:lnTo>
                    <a:pt x="1074341" y="1601088"/>
                  </a:lnTo>
                  <a:lnTo>
                    <a:pt x="1066403" y="1633220"/>
                  </a:lnTo>
                  <a:lnTo>
                    <a:pt x="1056878" y="1669318"/>
                  </a:lnTo>
                  <a:lnTo>
                    <a:pt x="1046956" y="1703830"/>
                  </a:lnTo>
                  <a:lnTo>
                    <a:pt x="1038622" y="1733582"/>
                  </a:lnTo>
                  <a:lnTo>
                    <a:pt x="1030288" y="1762540"/>
                  </a:lnTo>
                  <a:lnTo>
                    <a:pt x="802481" y="1785548"/>
                  </a:lnTo>
                  <a:lnTo>
                    <a:pt x="770731" y="1731201"/>
                  </a:lnTo>
                  <a:lnTo>
                    <a:pt x="904081" y="1706210"/>
                  </a:lnTo>
                  <a:lnTo>
                    <a:pt x="903685" y="1489619"/>
                  </a:lnTo>
                  <a:lnTo>
                    <a:pt x="871935" y="1482479"/>
                  </a:lnTo>
                  <a:lnTo>
                    <a:pt x="869950" y="1471768"/>
                  </a:lnTo>
                  <a:lnTo>
                    <a:pt x="867966" y="1461851"/>
                  </a:lnTo>
                  <a:lnTo>
                    <a:pt x="866378" y="1453124"/>
                  </a:lnTo>
                  <a:lnTo>
                    <a:pt x="864791" y="1445190"/>
                  </a:lnTo>
                  <a:lnTo>
                    <a:pt x="863600" y="1428926"/>
                  </a:lnTo>
                  <a:lnTo>
                    <a:pt x="862806" y="1413455"/>
                  </a:lnTo>
                  <a:lnTo>
                    <a:pt x="862013" y="1373787"/>
                  </a:lnTo>
                  <a:lnTo>
                    <a:pt x="860822" y="1346812"/>
                  </a:lnTo>
                  <a:lnTo>
                    <a:pt x="858044" y="1312697"/>
                  </a:lnTo>
                  <a:lnTo>
                    <a:pt x="854472" y="1175444"/>
                  </a:lnTo>
                  <a:lnTo>
                    <a:pt x="843756" y="1181791"/>
                  </a:lnTo>
                  <a:lnTo>
                    <a:pt x="818753" y="1197658"/>
                  </a:lnTo>
                  <a:lnTo>
                    <a:pt x="802878" y="1208369"/>
                  </a:lnTo>
                  <a:lnTo>
                    <a:pt x="786606" y="1219476"/>
                  </a:lnTo>
                  <a:lnTo>
                    <a:pt x="770731" y="1230980"/>
                  </a:lnTo>
                  <a:lnTo>
                    <a:pt x="756841" y="1242087"/>
                  </a:lnTo>
                  <a:lnTo>
                    <a:pt x="754460" y="1250021"/>
                  </a:lnTo>
                  <a:lnTo>
                    <a:pt x="752872" y="1258351"/>
                  </a:lnTo>
                  <a:lnTo>
                    <a:pt x="752078" y="1266681"/>
                  </a:lnTo>
                  <a:lnTo>
                    <a:pt x="751285" y="1275805"/>
                  </a:lnTo>
                  <a:lnTo>
                    <a:pt x="751285" y="1284532"/>
                  </a:lnTo>
                  <a:lnTo>
                    <a:pt x="751681" y="1292863"/>
                  </a:lnTo>
                  <a:lnTo>
                    <a:pt x="752078" y="1301590"/>
                  </a:lnTo>
                  <a:lnTo>
                    <a:pt x="752872" y="1310317"/>
                  </a:lnTo>
                  <a:lnTo>
                    <a:pt x="754856" y="1325788"/>
                  </a:lnTo>
                  <a:lnTo>
                    <a:pt x="756444" y="1339275"/>
                  </a:lnTo>
                  <a:lnTo>
                    <a:pt x="758031" y="1350382"/>
                  </a:lnTo>
                  <a:lnTo>
                    <a:pt x="758031" y="1354349"/>
                  </a:lnTo>
                  <a:lnTo>
                    <a:pt x="756841" y="1357523"/>
                  </a:lnTo>
                  <a:lnTo>
                    <a:pt x="727869" y="1355539"/>
                  </a:lnTo>
                  <a:lnTo>
                    <a:pt x="715566" y="1354746"/>
                  </a:lnTo>
                  <a:lnTo>
                    <a:pt x="709613" y="1354746"/>
                  </a:lnTo>
                  <a:lnTo>
                    <a:pt x="704453" y="1355143"/>
                  </a:lnTo>
                  <a:lnTo>
                    <a:pt x="698897" y="1355539"/>
                  </a:lnTo>
                  <a:lnTo>
                    <a:pt x="693341" y="1356729"/>
                  </a:lnTo>
                  <a:lnTo>
                    <a:pt x="687785" y="1357919"/>
                  </a:lnTo>
                  <a:lnTo>
                    <a:pt x="682228" y="1359903"/>
                  </a:lnTo>
                  <a:lnTo>
                    <a:pt x="677069" y="1361886"/>
                  </a:lnTo>
                  <a:lnTo>
                    <a:pt x="671116" y="1364663"/>
                  </a:lnTo>
                  <a:lnTo>
                    <a:pt x="664766" y="1367836"/>
                  </a:lnTo>
                  <a:lnTo>
                    <a:pt x="658416" y="1372200"/>
                  </a:lnTo>
                  <a:lnTo>
                    <a:pt x="657225" y="1367043"/>
                  </a:lnTo>
                  <a:lnTo>
                    <a:pt x="655241" y="1361093"/>
                  </a:lnTo>
                  <a:lnTo>
                    <a:pt x="654050" y="1355143"/>
                  </a:lnTo>
                  <a:lnTo>
                    <a:pt x="653256" y="1348399"/>
                  </a:lnTo>
                  <a:lnTo>
                    <a:pt x="651669" y="1333325"/>
                  </a:lnTo>
                  <a:lnTo>
                    <a:pt x="650875" y="1316267"/>
                  </a:lnTo>
                  <a:lnTo>
                    <a:pt x="650875" y="1296830"/>
                  </a:lnTo>
                  <a:lnTo>
                    <a:pt x="651272" y="1274615"/>
                  </a:lnTo>
                  <a:lnTo>
                    <a:pt x="652066" y="1251211"/>
                  </a:lnTo>
                  <a:lnTo>
                    <a:pt x="653653" y="1225029"/>
                  </a:lnTo>
                  <a:lnTo>
                    <a:pt x="660797" y="1208369"/>
                  </a:lnTo>
                  <a:lnTo>
                    <a:pt x="667147" y="1194881"/>
                  </a:lnTo>
                  <a:lnTo>
                    <a:pt x="670322" y="1188931"/>
                  </a:lnTo>
                  <a:lnTo>
                    <a:pt x="673497" y="1183774"/>
                  </a:lnTo>
                  <a:lnTo>
                    <a:pt x="680244" y="1174254"/>
                  </a:lnTo>
                  <a:lnTo>
                    <a:pt x="687388" y="1164733"/>
                  </a:lnTo>
                  <a:lnTo>
                    <a:pt x="696119" y="1155213"/>
                  </a:lnTo>
                  <a:lnTo>
                    <a:pt x="706438" y="1143312"/>
                  </a:lnTo>
                  <a:lnTo>
                    <a:pt x="718741" y="1129031"/>
                  </a:lnTo>
                  <a:lnTo>
                    <a:pt x="738585" y="1108007"/>
                  </a:lnTo>
                  <a:lnTo>
                    <a:pt x="756047" y="1088966"/>
                  </a:lnTo>
                  <a:lnTo>
                    <a:pt x="785416" y="1057231"/>
                  </a:lnTo>
                  <a:lnTo>
                    <a:pt x="797719" y="1043744"/>
                  </a:lnTo>
                  <a:lnTo>
                    <a:pt x="809228" y="1032240"/>
                  </a:lnTo>
                  <a:lnTo>
                    <a:pt x="820738" y="1021926"/>
                  </a:lnTo>
                  <a:lnTo>
                    <a:pt x="831056" y="1012802"/>
                  </a:lnTo>
                  <a:lnTo>
                    <a:pt x="836613" y="1008439"/>
                  </a:lnTo>
                  <a:lnTo>
                    <a:pt x="842169" y="1004869"/>
                  </a:lnTo>
                  <a:lnTo>
                    <a:pt x="848122" y="1000902"/>
                  </a:lnTo>
                  <a:lnTo>
                    <a:pt x="854075" y="997331"/>
                  </a:lnTo>
                  <a:lnTo>
                    <a:pt x="860028" y="994555"/>
                  </a:lnTo>
                  <a:lnTo>
                    <a:pt x="866378" y="991381"/>
                  </a:lnTo>
                  <a:lnTo>
                    <a:pt x="873125" y="988208"/>
                  </a:lnTo>
                  <a:lnTo>
                    <a:pt x="880269" y="985828"/>
                  </a:lnTo>
                  <a:lnTo>
                    <a:pt x="895350" y="980274"/>
                  </a:lnTo>
                  <a:lnTo>
                    <a:pt x="912416" y="975117"/>
                  </a:lnTo>
                  <a:lnTo>
                    <a:pt x="932260" y="970753"/>
                  </a:lnTo>
                  <a:lnTo>
                    <a:pt x="954881" y="965597"/>
                  </a:lnTo>
                  <a:lnTo>
                    <a:pt x="963613" y="965993"/>
                  </a:lnTo>
                  <a:lnTo>
                    <a:pt x="979488" y="966787"/>
                  </a:lnTo>
                  <a:lnTo>
                    <a:pt x="1004491" y="968373"/>
                  </a:lnTo>
                  <a:lnTo>
                    <a:pt x="1089819" y="1240103"/>
                  </a:lnTo>
                  <a:lnTo>
                    <a:pt x="1081484" y="1159179"/>
                  </a:lnTo>
                  <a:lnTo>
                    <a:pt x="1077516" y="1013199"/>
                  </a:lnTo>
                  <a:lnTo>
                    <a:pt x="1071959" y="999315"/>
                  </a:lnTo>
                  <a:lnTo>
                    <a:pt x="1083072" y="980671"/>
                  </a:lnTo>
                  <a:lnTo>
                    <a:pt x="1107281" y="980671"/>
                  </a:lnTo>
                  <a:lnTo>
                    <a:pt x="1117600" y="999315"/>
                  </a:lnTo>
                  <a:lnTo>
                    <a:pt x="1112837" y="1015579"/>
                  </a:lnTo>
                  <a:lnTo>
                    <a:pt x="1142206" y="1228203"/>
                  </a:lnTo>
                  <a:lnTo>
                    <a:pt x="1137841" y="971944"/>
                  </a:lnTo>
                  <a:lnTo>
                    <a:pt x="1146572" y="967580"/>
                  </a:lnTo>
                  <a:lnTo>
                    <a:pt x="1148953" y="966390"/>
                  </a:lnTo>
                  <a:lnTo>
                    <a:pt x="1149350" y="965597"/>
                  </a:lnTo>
                  <a:lnTo>
                    <a:pt x="1155700" y="965200"/>
                  </a:lnTo>
                  <a:close/>
                  <a:moveTo>
                    <a:pt x="931148" y="736601"/>
                  </a:moveTo>
                  <a:lnTo>
                    <a:pt x="929554" y="751285"/>
                  </a:lnTo>
                  <a:lnTo>
                    <a:pt x="928757" y="762794"/>
                  </a:lnTo>
                  <a:lnTo>
                    <a:pt x="929155" y="762794"/>
                  </a:lnTo>
                  <a:lnTo>
                    <a:pt x="929554" y="751285"/>
                  </a:lnTo>
                  <a:lnTo>
                    <a:pt x="930351" y="746126"/>
                  </a:lnTo>
                  <a:lnTo>
                    <a:pt x="931148" y="741363"/>
                  </a:lnTo>
                  <a:lnTo>
                    <a:pt x="931148" y="736601"/>
                  </a:lnTo>
                  <a:close/>
                  <a:moveTo>
                    <a:pt x="949086" y="679054"/>
                  </a:moveTo>
                  <a:lnTo>
                    <a:pt x="948289" y="679847"/>
                  </a:lnTo>
                  <a:lnTo>
                    <a:pt x="945499" y="681435"/>
                  </a:lnTo>
                  <a:lnTo>
                    <a:pt x="943904" y="683419"/>
                  </a:lnTo>
                  <a:lnTo>
                    <a:pt x="941911" y="686991"/>
                  </a:lnTo>
                  <a:lnTo>
                    <a:pt x="945897" y="682625"/>
                  </a:lnTo>
                  <a:lnTo>
                    <a:pt x="948289" y="681038"/>
                  </a:lnTo>
                  <a:lnTo>
                    <a:pt x="950282" y="679054"/>
                  </a:lnTo>
                  <a:lnTo>
                    <a:pt x="949086" y="679054"/>
                  </a:lnTo>
                  <a:close/>
                  <a:moveTo>
                    <a:pt x="1038375" y="620713"/>
                  </a:moveTo>
                  <a:lnTo>
                    <a:pt x="1049138" y="620713"/>
                  </a:lnTo>
                  <a:lnTo>
                    <a:pt x="1059502" y="621110"/>
                  </a:lnTo>
                  <a:lnTo>
                    <a:pt x="1069866" y="622300"/>
                  </a:lnTo>
                  <a:lnTo>
                    <a:pt x="1079432" y="623491"/>
                  </a:lnTo>
                  <a:lnTo>
                    <a:pt x="1088999" y="625872"/>
                  </a:lnTo>
                  <a:lnTo>
                    <a:pt x="1098167" y="627857"/>
                  </a:lnTo>
                  <a:lnTo>
                    <a:pt x="1106937" y="630238"/>
                  </a:lnTo>
                  <a:lnTo>
                    <a:pt x="1115307" y="633413"/>
                  </a:lnTo>
                  <a:lnTo>
                    <a:pt x="1123678" y="636191"/>
                  </a:lnTo>
                  <a:lnTo>
                    <a:pt x="1130853" y="639763"/>
                  </a:lnTo>
                  <a:lnTo>
                    <a:pt x="1138028" y="642938"/>
                  </a:lnTo>
                  <a:lnTo>
                    <a:pt x="1144805" y="646510"/>
                  </a:lnTo>
                  <a:lnTo>
                    <a:pt x="1156365" y="652860"/>
                  </a:lnTo>
                  <a:lnTo>
                    <a:pt x="1166729" y="659607"/>
                  </a:lnTo>
                  <a:lnTo>
                    <a:pt x="1174701" y="664766"/>
                  </a:lnTo>
                  <a:lnTo>
                    <a:pt x="1180680" y="669529"/>
                  </a:lnTo>
                  <a:lnTo>
                    <a:pt x="1185862" y="673497"/>
                  </a:lnTo>
                  <a:lnTo>
                    <a:pt x="1185862" y="676275"/>
                  </a:lnTo>
                  <a:lnTo>
                    <a:pt x="1185862" y="684213"/>
                  </a:lnTo>
                  <a:lnTo>
                    <a:pt x="1185065" y="688975"/>
                  </a:lnTo>
                  <a:lnTo>
                    <a:pt x="1183869" y="694532"/>
                  </a:lnTo>
                  <a:lnTo>
                    <a:pt x="1182274" y="700088"/>
                  </a:lnTo>
                  <a:lnTo>
                    <a:pt x="1180281" y="704850"/>
                  </a:lnTo>
                  <a:lnTo>
                    <a:pt x="1179086" y="707629"/>
                  </a:lnTo>
                  <a:lnTo>
                    <a:pt x="1177093" y="710010"/>
                  </a:lnTo>
                  <a:lnTo>
                    <a:pt x="1175498" y="711994"/>
                  </a:lnTo>
                  <a:lnTo>
                    <a:pt x="1173505" y="713979"/>
                  </a:lnTo>
                  <a:lnTo>
                    <a:pt x="1170715" y="715963"/>
                  </a:lnTo>
                  <a:lnTo>
                    <a:pt x="1168323" y="717154"/>
                  </a:lnTo>
                  <a:lnTo>
                    <a:pt x="1165533" y="718344"/>
                  </a:lnTo>
                  <a:lnTo>
                    <a:pt x="1161945" y="719138"/>
                  </a:lnTo>
                  <a:lnTo>
                    <a:pt x="1158756" y="719535"/>
                  </a:lnTo>
                  <a:lnTo>
                    <a:pt x="1154770" y="719535"/>
                  </a:lnTo>
                  <a:lnTo>
                    <a:pt x="1150784" y="719138"/>
                  </a:lnTo>
                  <a:lnTo>
                    <a:pt x="1146001" y="718344"/>
                  </a:lnTo>
                  <a:lnTo>
                    <a:pt x="1140819" y="717154"/>
                  </a:lnTo>
                  <a:lnTo>
                    <a:pt x="1135238" y="715566"/>
                  </a:lnTo>
                  <a:lnTo>
                    <a:pt x="1129259" y="712788"/>
                  </a:lnTo>
                  <a:lnTo>
                    <a:pt x="1123678" y="710010"/>
                  </a:lnTo>
                  <a:lnTo>
                    <a:pt x="1120091" y="708819"/>
                  </a:lnTo>
                  <a:lnTo>
                    <a:pt x="1114112" y="707629"/>
                  </a:lnTo>
                  <a:lnTo>
                    <a:pt x="1098964" y="704850"/>
                  </a:lnTo>
                  <a:lnTo>
                    <a:pt x="1083418" y="702072"/>
                  </a:lnTo>
                  <a:lnTo>
                    <a:pt x="1077439" y="700882"/>
                  </a:lnTo>
                  <a:lnTo>
                    <a:pt x="1073852" y="700088"/>
                  </a:lnTo>
                  <a:lnTo>
                    <a:pt x="1104545" y="714772"/>
                  </a:lnTo>
                  <a:lnTo>
                    <a:pt x="1118895" y="721122"/>
                  </a:lnTo>
                  <a:lnTo>
                    <a:pt x="1125671" y="723504"/>
                  </a:lnTo>
                  <a:lnTo>
                    <a:pt x="1132448" y="725885"/>
                  </a:lnTo>
                  <a:lnTo>
                    <a:pt x="1138826" y="728266"/>
                  </a:lnTo>
                  <a:lnTo>
                    <a:pt x="1144805" y="729457"/>
                  </a:lnTo>
                  <a:lnTo>
                    <a:pt x="1150784" y="730647"/>
                  </a:lnTo>
                  <a:lnTo>
                    <a:pt x="1155966" y="731044"/>
                  </a:lnTo>
                  <a:lnTo>
                    <a:pt x="1161148" y="730647"/>
                  </a:lnTo>
                  <a:lnTo>
                    <a:pt x="1165931" y="729457"/>
                  </a:lnTo>
                  <a:lnTo>
                    <a:pt x="1170316" y="727869"/>
                  </a:lnTo>
                  <a:lnTo>
                    <a:pt x="1174302" y="725091"/>
                  </a:lnTo>
                  <a:lnTo>
                    <a:pt x="1175498" y="735410"/>
                  </a:lnTo>
                  <a:lnTo>
                    <a:pt x="1175897" y="744935"/>
                  </a:lnTo>
                  <a:lnTo>
                    <a:pt x="1175498" y="753666"/>
                  </a:lnTo>
                  <a:lnTo>
                    <a:pt x="1175099" y="762397"/>
                  </a:lnTo>
                  <a:lnTo>
                    <a:pt x="1176694" y="761207"/>
                  </a:lnTo>
                  <a:lnTo>
                    <a:pt x="1177491" y="760413"/>
                  </a:lnTo>
                  <a:lnTo>
                    <a:pt x="1178687" y="760016"/>
                  </a:lnTo>
                  <a:lnTo>
                    <a:pt x="1179086" y="760413"/>
                  </a:lnTo>
                  <a:lnTo>
                    <a:pt x="1179484" y="761207"/>
                  </a:lnTo>
                  <a:lnTo>
                    <a:pt x="1179883" y="763985"/>
                  </a:lnTo>
                  <a:lnTo>
                    <a:pt x="1180281" y="767954"/>
                  </a:lnTo>
                  <a:lnTo>
                    <a:pt x="1180281" y="773113"/>
                  </a:lnTo>
                  <a:lnTo>
                    <a:pt x="1179086" y="785813"/>
                  </a:lnTo>
                  <a:lnTo>
                    <a:pt x="1177491" y="800498"/>
                  </a:lnTo>
                  <a:lnTo>
                    <a:pt x="1175498" y="814388"/>
                  </a:lnTo>
                  <a:lnTo>
                    <a:pt x="1173505" y="826294"/>
                  </a:lnTo>
                  <a:lnTo>
                    <a:pt x="1171911" y="833438"/>
                  </a:lnTo>
                  <a:lnTo>
                    <a:pt x="1170715" y="834629"/>
                  </a:lnTo>
                  <a:lnTo>
                    <a:pt x="1170316" y="834232"/>
                  </a:lnTo>
                  <a:lnTo>
                    <a:pt x="1169519" y="842169"/>
                  </a:lnTo>
                  <a:lnTo>
                    <a:pt x="1168323" y="849710"/>
                  </a:lnTo>
                  <a:lnTo>
                    <a:pt x="1166729" y="856854"/>
                  </a:lnTo>
                  <a:lnTo>
                    <a:pt x="1165134" y="863998"/>
                  </a:lnTo>
                  <a:lnTo>
                    <a:pt x="1162742" y="870744"/>
                  </a:lnTo>
                  <a:lnTo>
                    <a:pt x="1160351" y="877491"/>
                  </a:lnTo>
                  <a:lnTo>
                    <a:pt x="1157959" y="883841"/>
                  </a:lnTo>
                  <a:lnTo>
                    <a:pt x="1154770" y="890191"/>
                  </a:lnTo>
                  <a:lnTo>
                    <a:pt x="1151980" y="896541"/>
                  </a:lnTo>
                  <a:lnTo>
                    <a:pt x="1148791" y="902098"/>
                  </a:lnTo>
                  <a:lnTo>
                    <a:pt x="1145602" y="907654"/>
                  </a:lnTo>
                  <a:lnTo>
                    <a:pt x="1141616" y="913210"/>
                  </a:lnTo>
                  <a:lnTo>
                    <a:pt x="1138028" y="918370"/>
                  </a:lnTo>
                  <a:lnTo>
                    <a:pt x="1134042" y="923529"/>
                  </a:lnTo>
                  <a:lnTo>
                    <a:pt x="1126070" y="932260"/>
                  </a:lnTo>
                  <a:lnTo>
                    <a:pt x="1117699" y="940595"/>
                  </a:lnTo>
                  <a:lnTo>
                    <a:pt x="1108531" y="947738"/>
                  </a:lnTo>
                  <a:lnTo>
                    <a:pt x="1099762" y="954088"/>
                  </a:lnTo>
                  <a:lnTo>
                    <a:pt x="1090593" y="959248"/>
                  </a:lnTo>
                  <a:lnTo>
                    <a:pt x="1081027" y="963216"/>
                  </a:lnTo>
                  <a:lnTo>
                    <a:pt x="1077041" y="964804"/>
                  </a:lnTo>
                  <a:lnTo>
                    <a:pt x="1072257" y="966391"/>
                  </a:lnTo>
                  <a:lnTo>
                    <a:pt x="1067474" y="967185"/>
                  </a:lnTo>
                  <a:lnTo>
                    <a:pt x="1063488" y="967979"/>
                  </a:lnTo>
                  <a:lnTo>
                    <a:pt x="1059103" y="968376"/>
                  </a:lnTo>
                  <a:lnTo>
                    <a:pt x="1054719" y="968376"/>
                  </a:lnTo>
                  <a:lnTo>
                    <a:pt x="1051530" y="968376"/>
                  </a:lnTo>
                  <a:lnTo>
                    <a:pt x="1047543" y="967979"/>
                  </a:lnTo>
                  <a:lnTo>
                    <a:pt x="1043956" y="967185"/>
                  </a:lnTo>
                  <a:lnTo>
                    <a:pt x="1039970" y="965995"/>
                  </a:lnTo>
                  <a:lnTo>
                    <a:pt x="1031998" y="962820"/>
                  </a:lnTo>
                  <a:lnTo>
                    <a:pt x="1023627" y="958851"/>
                  </a:lnTo>
                  <a:lnTo>
                    <a:pt x="1014857" y="953295"/>
                  </a:lnTo>
                  <a:lnTo>
                    <a:pt x="1006088" y="947341"/>
                  </a:lnTo>
                  <a:lnTo>
                    <a:pt x="997318" y="939801"/>
                  </a:lnTo>
                  <a:lnTo>
                    <a:pt x="988549" y="931863"/>
                  </a:lnTo>
                  <a:lnTo>
                    <a:pt x="979779" y="922338"/>
                  </a:lnTo>
                  <a:lnTo>
                    <a:pt x="971807" y="912813"/>
                  </a:lnTo>
                  <a:lnTo>
                    <a:pt x="963835" y="902098"/>
                  </a:lnTo>
                  <a:lnTo>
                    <a:pt x="956660" y="890985"/>
                  </a:lnTo>
                  <a:lnTo>
                    <a:pt x="949883" y="878682"/>
                  </a:lnTo>
                  <a:lnTo>
                    <a:pt x="943904" y="865982"/>
                  </a:lnTo>
                  <a:lnTo>
                    <a:pt x="941512" y="859632"/>
                  </a:lnTo>
                  <a:lnTo>
                    <a:pt x="938722" y="852885"/>
                  </a:lnTo>
                  <a:lnTo>
                    <a:pt x="936729" y="846138"/>
                  </a:lnTo>
                  <a:lnTo>
                    <a:pt x="934736" y="839391"/>
                  </a:lnTo>
                  <a:lnTo>
                    <a:pt x="933540" y="843757"/>
                  </a:lnTo>
                  <a:lnTo>
                    <a:pt x="931547" y="847329"/>
                  </a:lnTo>
                  <a:lnTo>
                    <a:pt x="929554" y="849710"/>
                  </a:lnTo>
                  <a:lnTo>
                    <a:pt x="928757" y="850107"/>
                  </a:lnTo>
                  <a:lnTo>
                    <a:pt x="927960" y="850504"/>
                  </a:lnTo>
                  <a:lnTo>
                    <a:pt x="926764" y="850107"/>
                  </a:lnTo>
                  <a:lnTo>
                    <a:pt x="925568" y="849710"/>
                  </a:lnTo>
                  <a:lnTo>
                    <a:pt x="924372" y="848123"/>
                  </a:lnTo>
                  <a:lnTo>
                    <a:pt x="923575" y="846535"/>
                  </a:lnTo>
                  <a:lnTo>
                    <a:pt x="921582" y="842963"/>
                  </a:lnTo>
                  <a:lnTo>
                    <a:pt x="920386" y="837407"/>
                  </a:lnTo>
                  <a:lnTo>
                    <a:pt x="918791" y="831057"/>
                  </a:lnTo>
                  <a:lnTo>
                    <a:pt x="917596" y="823516"/>
                  </a:lnTo>
                  <a:lnTo>
                    <a:pt x="917197" y="815182"/>
                  </a:lnTo>
                  <a:lnTo>
                    <a:pt x="916798" y="806054"/>
                  </a:lnTo>
                  <a:lnTo>
                    <a:pt x="917197" y="798116"/>
                  </a:lnTo>
                  <a:lnTo>
                    <a:pt x="917596" y="790576"/>
                  </a:lnTo>
                  <a:lnTo>
                    <a:pt x="918393" y="783829"/>
                  </a:lnTo>
                  <a:lnTo>
                    <a:pt x="919987" y="777479"/>
                  </a:lnTo>
                  <a:lnTo>
                    <a:pt x="921183" y="772319"/>
                  </a:lnTo>
                  <a:lnTo>
                    <a:pt x="922379" y="767954"/>
                  </a:lnTo>
                  <a:lnTo>
                    <a:pt x="924372" y="764779"/>
                  </a:lnTo>
                  <a:lnTo>
                    <a:pt x="925169" y="763588"/>
                  </a:lnTo>
                  <a:lnTo>
                    <a:pt x="926365" y="763191"/>
                  </a:lnTo>
                  <a:lnTo>
                    <a:pt x="923176" y="759619"/>
                  </a:lnTo>
                  <a:lnTo>
                    <a:pt x="920785" y="756444"/>
                  </a:lnTo>
                  <a:lnTo>
                    <a:pt x="918393" y="752476"/>
                  </a:lnTo>
                  <a:lnTo>
                    <a:pt x="916798" y="748507"/>
                  </a:lnTo>
                  <a:lnTo>
                    <a:pt x="915204" y="744538"/>
                  </a:lnTo>
                  <a:lnTo>
                    <a:pt x="914407" y="739776"/>
                  </a:lnTo>
                  <a:lnTo>
                    <a:pt x="913609" y="735807"/>
                  </a:lnTo>
                  <a:lnTo>
                    <a:pt x="913211" y="731044"/>
                  </a:lnTo>
                  <a:lnTo>
                    <a:pt x="912812" y="727076"/>
                  </a:lnTo>
                  <a:lnTo>
                    <a:pt x="912812" y="721916"/>
                  </a:lnTo>
                  <a:lnTo>
                    <a:pt x="913609" y="712391"/>
                  </a:lnTo>
                  <a:lnTo>
                    <a:pt x="915204" y="703263"/>
                  </a:lnTo>
                  <a:lnTo>
                    <a:pt x="917197" y="694135"/>
                  </a:lnTo>
                  <a:lnTo>
                    <a:pt x="920386" y="685007"/>
                  </a:lnTo>
                  <a:lnTo>
                    <a:pt x="923575" y="676672"/>
                  </a:lnTo>
                  <a:lnTo>
                    <a:pt x="927162" y="668735"/>
                  </a:lnTo>
                  <a:lnTo>
                    <a:pt x="930750" y="661988"/>
                  </a:lnTo>
                  <a:lnTo>
                    <a:pt x="934337" y="656035"/>
                  </a:lnTo>
                  <a:lnTo>
                    <a:pt x="937526" y="651272"/>
                  </a:lnTo>
                  <a:lnTo>
                    <a:pt x="940715" y="647700"/>
                  </a:lnTo>
                  <a:lnTo>
                    <a:pt x="943107" y="646113"/>
                  </a:lnTo>
                  <a:lnTo>
                    <a:pt x="955862" y="639763"/>
                  </a:lnTo>
                  <a:lnTo>
                    <a:pt x="968219" y="634604"/>
                  </a:lnTo>
                  <a:lnTo>
                    <a:pt x="980178" y="630238"/>
                  </a:lnTo>
                  <a:lnTo>
                    <a:pt x="992535" y="627063"/>
                  </a:lnTo>
                  <a:lnTo>
                    <a:pt x="1004493" y="624285"/>
                  </a:lnTo>
                  <a:lnTo>
                    <a:pt x="1016053" y="622300"/>
                  </a:lnTo>
                  <a:lnTo>
                    <a:pt x="1027214" y="621110"/>
                  </a:lnTo>
                  <a:lnTo>
                    <a:pt x="1038375" y="620713"/>
                  </a:lnTo>
                  <a:close/>
                  <a:moveTo>
                    <a:pt x="1043186" y="515586"/>
                  </a:moveTo>
                  <a:lnTo>
                    <a:pt x="1022934" y="515983"/>
                  </a:lnTo>
                  <a:lnTo>
                    <a:pt x="1002682" y="516777"/>
                  </a:lnTo>
                  <a:lnTo>
                    <a:pt x="982827" y="518364"/>
                  </a:lnTo>
                  <a:lnTo>
                    <a:pt x="962972" y="519952"/>
                  </a:lnTo>
                  <a:lnTo>
                    <a:pt x="943514" y="521937"/>
                  </a:lnTo>
                  <a:lnTo>
                    <a:pt x="924056" y="525113"/>
                  </a:lnTo>
                  <a:lnTo>
                    <a:pt x="904598" y="527891"/>
                  </a:lnTo>
                  <a:lnTo>
                    <a:pt x="885140" y="531861"/>
                  </a:lnTo>
                  <a:lnTo>
                    <a:pt x="866476" y="535830"/>
                  </a:lnTo>
                  <a:lnTo>
                    <a:pt x="847812" y="540594"/>
                  </a:lnTo>
                  <a:lnTo>
                    <a:pt x="829148" y="545754"/>
                  </a:lnTo>
                  <a:lnTo>
                    <a:pt x="810485" y="550914"/>
                  </a:lnTo>
                  <a:lnTo>
                    <a:pt x="792218" y="556869"/>
                  </a:lnTo>
                  <a:lnTo>
                    <a:pt x="774348" y="563220"/>
                  </a:lnTo>
                  <a:lnTo>
                    <a:pt x="756082" y="569968"/>
                  </a:lnTo>
                  <a:lnTo>
                    <a:pt x="738609" y="577113"/>
                  </a:lnTo>
                  <a:lnTo>
                    <a:pt x="721137" y="585449"/>
                  </a:lnTo>
                  <a:lnTo>
                    <a:pt x="704061" y="593388"/>
                  </a:lnTo>
                  <a:lnTo>
                    <a:pt x="686986" y="601724"/>
                  </a:lnTo>
                  <a:lnTo>
                    <a:pt x="670308" y="610457"/>
                  </a:lnTo>
                  <a:lnTo>
                    <a:pt x="653630" y="619587"/>
                  </a:lnTo>
                  <a:lnTo>
                    <a:pt x="637745" y="629114"/>
                  </a:lnTo>
                  <a:lnTo>
                    <a:pt x="621861" y="639037"/>
                  </a:lnTo>
                  <a:lnTo>
                    <a:pt x="605977" y="649755"/>
                  </a:lnTo>
                  <a:lnTo>
                    <a:pt x="590490" y="660473"/>
                  </a:lnTo>
                  <a:lnTo>
                    <a:pt x="575400" y="671190"/>
                  </a:lnTo>
                  <a:lnTo>
                    <a:pt x="559913" y="682702"/>
                  </a:lnTo>
                  <a:lnTo>
                    <a:pt x="545617" y="694610"/>
                  </a:lnTo>
                  <a:lnTo>
                    <a:pt x="531322" y="706519"/>
                  </a:lnTo>
                  <a:lnTo>
                    <a:pt x="517026" y="719221"/>
                  </a:lnTo>
                  <a:lnTo>
                    <a:pt x="503525" y="731924"/>
                  </a:lnTo>
                  <a:lnTo>
                    <a:pt x="490023" y="745023"/>
                  </a:lnTo>
                  <a:lnTo>
                    <a:pt x="476919" y="758520"/>
                  </a:lnTo>
                  <a:lnTo>
                    <a:pt x="464212" y="772413"/>
                  </a:lnTo>
                  <a:lnTo>
                    <a:pt x="451504" y="786306"/>
                  </a:lnTo>
                  <a:lnTo>
                    <a:pt x="439591" y="800596"/>
                  </a:lnTo>
                  <a:lnTo>
                    <a:pt x="427678" y="815680"/>
                  </a:lnTo>
                  <a:lnTo>
                    <a:pt x="416162" y="830368"/>
                  </a:lnTo>
                  <a:lnTo>
                    <a:pt x="405441" y="845452"/>
                  </a:lnTo>
                  <a:lnTo>
                    <a:pt x="394322" y="860933"/>
                  </a:lnTo>
                  <a:lnTo>
                    <a:pt x="383997" y="876811"/>
                  </a:lnTo>
                  <a:lnTo>
                    <a:pt x="374070" y="892689"/>
                  </a:lnTo>
                  <a:lnTo>
                    <a:pt x="364539" y="908964"/>
                  </a:lnTo>
                  <a:lnTo>
                    <a:pt x="355009" y="925636"/>
                  </a:lnTo>
                  <a:lnTo>
                    <a:pt x="346272" y="941911"/>
                  </a:lnTo>
                  <a:lnTo>
                    <a:pt x="337933" y="959377"/>
                  </a:lnTo>
                  <a:lnTo>
                    <a:pt x="329594" y="976048"/>
                  </a:lnTo>
                  <a:lnTo>
                    <a:pt x="322049" y="993911"/>
                  </a:lnTo>
                  <a:lnTo>
                    <a:pt x="314901" y="1011377"/>
                  </a:lnTo>
                  <a:lnTo>
                    <a:pt x="308151" y="1029240"/>
                  </a:lnTo>
                  <a:lnTo>
                    <a:pt x="301797" y="1047500"/>
                  </a:lnTo>
                  <a:lnTo>
                    <a:pt x="295840" y="1065362"/>
                  </a:lnTo>
                  <a:lnTo>
                    <a:pt x="290678" y="1084019"/>
                  </a:lnTo>
                  <a:lnTo>
                    <a:pt x="285516" y="1102676"/>
                  </a:lnTo>
                  <a:lnTo>
                    <a:pt x="280751" y="1121729"/>
                  </a:lnTo>
                  <a:lnTo>
                    <a:pt x="276780" y="1140783"/>
                  </a:lnTo>
                  <a:lnTo>
                    <a:pt x="272809" y="1159440"/>
                  </a:lnTo>
                  <a:lnTo>
                    <a:pt x="270029" y="1178890"/>
                  </a:lnTo>
                  <a:lnTo>
                    <a:pt x="266852" y="1198341"/>
                  </a:lnTo>
                  <a:lnTo>
                    <a:pt x="264867" y="1218188"/>
                  </a:lnTo>
                  <a:lnTo>
                    <a:pt x="263278" y="1237639"/>
                  </a:lnTo>
                  <a:lnTo>
                    <a:pt x="261690" y="1257883"/>
                  </a:lnTo>
                  <a:lnTo>
                    <a:pt x="260896" y="1277731"/>
                  </a:lnTo>
                  <a:lnTo>
                    <a:pt x="260498" y="1297975"/>
                  </a:lnTo>
                  <a:lnTo>
                    <a:pt x="260896" y="1318220"/>
                  </a:lnTo>
                  <a:lnTo>
                    <a:pt x="261690" y="1338067"/>
                  </a:lnTo>
                  <a:lnTo>
                    <a:pt x="263278" y="1357915"/>
                  </a:lnTo>
                  <a:lnTo>
                    <a:pt x="264867" y="1377763"/>
                  </a:lnTo>
                  <a:lnTo>
                    <a:pt x="266852" y="1397213"/>
                  </a:lnTo>
                  <a:lnTo>
                    <a:pt x="270029" y="1416664"/>
                  </a:lnTo>
                  <a:lnTo>
                    <a:pt x="272809" y="1436114"/>
                  </a:lnTo>
                  <a:lnTo>
                    <a:pt x="276780" y="1455168"/>
                  </a:lnTo>
                  <a:lnTo>
                    <a:pt x="280751" y="1474222"/>
                  </a:lnTo>
                  <a:lnTo>
                    <a:pt x="285516" y="1493275"/>
                  </a:lnTo>
                  <a:lnTo>
                    <a:pt x="290678" y="1511535"/>
                  </a:lnTo>
                  <a:lnTo>
                    <a:pt x="295840" y="1530192"/>
                  </a:lnTo>
                  <a:lnTo>
                    <a:pt x="301797" y="1548452"/>
                  </a:lnTo>
                  <a:lnTo>
                    <a:pt x="308151" y="1566314"/>
                  </a:lnTo>
                  <a:lnTo>
                    <a:pt x="314901" y="1584177"/>
                  </a:lnTo>
                  <a:lnTo>
                    <a:pt x="322049" y="1602040"/>
                  </a:lnTo>
                  <a:lnTo>
                    <a:pt x="329594" y="1619109"/>
                  </a:lnTo>
                  <a:lnTo>
                    <a:pt x="337933" y="1636575"/>
                  </a:lnTo>
                  <a:lnTo>
                    <a:pt x="346272" y="1653247"/>
                  </a:lnTo>
                  <a:lnTo>
                    <a:pt x="355009" y="1670316"/>
                  </a:lnTo>
                  <a:lnTo>
                    <a:pt x="364539" y="1686591"/>
                  </a:lnTo>
                  <a:lnTo>
                    <a:pt x="374070" y="1703262"/>
                  </a:lnTo>
                  <a:lnTo>
                    <a:pt x="383997" y="1719140"/>
                  </a:lnTo>
                  <a:lnTo>
                    <a:pt x="394322" y="1734622"/>
                  </a:lnTo>
                  <a:lnTo>
                    <a:pt x="405441" y="1750500"/>
                  </a:lnTo>
                  <a:lnTo>
                    <a:pt x="416162" y="1765584"/>
                  </a:lnTo>
                  <a:lnTo>
                    <a:pt x="427678" y="1780271"/>
                  </a:lnTo>
                  <a:lnTo>
                    <a:pt x="439591" y="1794958"/>
                  </a:lnTo>
                  <a:lnTo>
                    <a:pt x="451504" y="1809248"/>
                  </a:lnTo>
                  <a:lnTo>
                    <a:pt x="464212" y="1823142"/>
                  </a:lnTo>
                  <a:lnTo>
                    <a:pt x="476919" y="1837035"/>
                  </a:lnTo>
                  <a:lnTo>
                    <a:pt x="490023" y="1850531"/>
                  </a:lnTo>
                  <a:lnTo>
                    <a:pt x="503525" y="1863631"/>
                  </a:lnTo>
                  <a:lnTo>
                    <a:pt x="517026" y="1876333"/>
                  </a:lnTo>
                  <a:lnTo>
                    <a:pt x="531322" y="1889035"/>
                  </a:lnTo>
                  <a:lnTo>
                    <a:pt x="545617" y="1900944"/>
                  </a:lnTo>
                  <a:lnTo>
                    <a:pt x="559913" y="1912852"/>
                  </a:lnTo>
                  <a:lnTo>
                    <a:pt x="575400" y="1923967"/>
                  </a:lnTo>
                  <a:lnTo>
                    <a:pt x="590490" y="1935479"/>
                  </a:lnTo>
                  <a:lnTo>
                    <a:pt x="605977" y="1945799"/>
                  </a:lnTo>
                  <a:lnTo>
                    <a:pt x="621861" y="1956517"/>
                  </a:lnTo>
                  <a:lnTo>
                    <a:pt x="637745" y="1966044"/>
                  </a:lnTo>
                  <a:lnTo>
                    <a:pt x="653630" y="1975968"/>
                  </a:lnTo>
                  <a:lnTo>
                    <a:pt x="670308" y="1985097"/>
                  </a:lnTo>
                  <a:lnTo>
                    <a:pt x="686986" y="1994227"/>
                  </a:lnTo>
                  <a:lnTo>
                    <a:pt x="704061" y="2002563"/>
                  </a:lnTo>
                  <a:lnTo>
                    <a:pt x="721137" y="2010502"/>
                  </a:lnTo>
                  <a:lnTo>
                    <a:pt x="738609" y="2018044"/>
                  </a:lnTo>
                  <a:lnTo>
                    <a:pt x="756082" y="2025189"/>
                  </a:lnTo>
                  <a:lnTo>
                    <a:pt x="774348" y="2032335"/>
                  </a:lnTo>
                  <a:lnTo>
                    <a:pt x="792218" y="2038686"/>
                  </a:lnTo>
                  <a:lnTo>
                    <a:pt x="810485" y="2044640"/>
                  </a:lnTo>
                  <a:lnTo>
                    <a:pt x="829148" y="2050197"/>
                  </a:lnTo>
                  <a:lnTo>
                    <a:pt x="847812" y="2055358"/>
                  </a:lnTo>
                  <a:lnTo>
                    <a:pt x="866476" y="2059724"/>
                  </a:lnTo>
                  <a:lnTo>
                    <a:pt x="885140" y="2064091"/>
                  </a:lnTo>
                  <a:lnTo>
                    <a:pt x="904598" y="2067266"/>
                  </a:lnTo>
                  <a:lnTo>
                    <a:pt x="924056" y="2070839"/>
                  </a:lnTo>
                  <a:lnTo>
                    <a:pt x="943514" y="2073220"/>
                  </a:lnTo>
                  <a:lnTo>
                    <a:pt x="962972" y="2075999"/>
                  </a:lnTo>
                  <a:lnTo>
                    <a:pt x="982827" y="2077587"/>
                  </a:lnTo>
                  <a:lnTo>
                    <a:pt x="1002682" y="2078778"/>
                  </a:lnTo>
                  <a:lnTo>
                    <a:pt x="1022934" y="2079572"/>
                  </a:lnTo>
                  <a:lnTo>
                    <a:pt x="1043186" y="2079572"/>
                  </a:lnTo>
                  <a:lnTo>
                    <a:pt x="1063041" y="2079572"/>
                  </a:lnTo>
                  <a:lnTo>
                    <a:pt x="1083293" y="2078778"/>
                  </a:lnTo>
                  <a:lnTo>
                    <a:pt x="1103148" y="2077587"/>
                  </a:lnTo>
                  <a:lnTo>
                    <a:pt x="1122606" y="2075999"/>
                  </a:lnTo>
                  <a:lnTo>
                    <a:pt x="1142064" y="2073220"/>
                  </a:lnTo>
                  <a:lnTo>
                    <a:pt x="1161919" y="2070839"/>
                  </a:lnTo>
                  <a:lnTo>
                    <a:pt x="1180980" y="2067266"/>
                  </a:lnTo>
                  <a:lnTo>
                    <a:pt x="1200438" y="2064091"/>
                  </a:lnTo>
                  <a:lnTo>
                    <a:pt x="1219499" y="2059724"/>
                  </a:lnTo>
                  <a:lnTo>
                    <a:pt x="1237766" y="2055358"/>
                  </a:lnTo>
                  <a:lnTo>
                    <a:pt x="1256827" y="2050197"/>
                  </a:lnTo>
                  <a:lnTo>
                    <a:pt x="1275093" y="2044640"/>
                  </a:lnTo>
                  <a:lnTo>
                    <a:pt x="1293757" y="2038686"/>
                  </a:lnTo>
                  <a:lnTo>
                    <a:pt x="1311627" y="2032335"/>
                  </a:lnTo>
                  <a:lnTo>
                    <a:pt x="1329496" y="2025189"/>
                  </a:lnTo>
                  <a:lnTo>
                    <a:pt x="1347366" y="2018044"/>
                  </a:lnTo>
                  <a:lnTo>
                    <a:pt x="1364441" y="2010502"/>
                  </a:lnTo>
                  <a:lnTo>
                    <a:pt x="1381914" y="2002563"/>
                  </a:lnTo>
                  <a:lnTo>
                    <a:pt x="1398592" y="1994227"/>
                  </a:lnTo>
                  <a:lnTo>
                    <a:pt x="1415667" y="1985097"/>
                  </a:lnTo>
                  <a:lnTo>
                    <a:pt x="1431949" y="1975968"/>
                  </a:lnTo>
                  <a:lnTo>
                    <a:pt x="1447833" y="1966044"/>
                  </a:lnTo>
                  <a:lnTo>
                    <a:pt x="1464114" y="1956517"/>
                  </a:lnTo>
                  <a:lnTo>
                    <a:pt x="1479998" y="1945799"/>
                  </a:lnTo>
                  <a:lnTo>
                    <a:pt x="1495088" y="1935479"/>
                  </a:lnTo>
                  <a:lnTo>
                    <a:pt x="1510575" y="1923967"/>
                  </a:lnTo>
                  <a:lnTo>
                    <a:pt x="1525665" y="1912852"/>
                  </a:lnTo>
                  <a:lnTo>
                    <a:pt x="1539960" y="1900944"/>
                  </a:lnTo>
                  <a:lnTo>
                    <a:pt x="1554256" y="1889035"/>
                  </a:lnTo>
                  <a:lnTo>
                    <a:pt x="1568551" y="1876333"/>
                  </a:lnTo>
                  <a:lnTo>
                    <a:pt x="1582053" y="1863631"/>
                  </a:lnTo>
                  <a:lnTo>
                    <a:pt x="1595555" y="1850531"/>
                  </a:lnTo>
                  <a:lnTo>
                    <a:pt x="1608659" y="1837035"/>
                  </a:lnTo>
                  <a:lnTo>
                    <a:pt x="1621763" y="1823142"/>
                  </a:lnTo>
                  <a:lnTo>
                    <a:pt x="1634073" y="1809248"/>
                  </a:lnTo>
                  <a:lnTo>
                    <a:pt x="1646383" y="1794958"/>
                  </a:lnTo>
                  <a:lnTo>
                    <a:pt x="1657899" y="1780271"/>
                  </a:lnTo>
                  <a:lnTo>
                    <a:pt x="1669415" y="1765584"/>
                  </a:lnTo>
                  <a:lnTo>
                    <a:pt x="1680534" y="1750500"/>
                  </a:lnTo>
                  <a:lnTo>
                    <a:pt x="1691256" y="1734622"/>
                  </a:lnTo>
                  <a:lnTo>
                    <a:pt x="1701581" y="1719140"/>
                  </a:lnTo>
                  <a:lnTo>
                    <a:pt x="1711508" y="1703262"/>
                  </a:lnTo>
                  <a:lnTo>
                    <a:pt x="1721436" y="1686591"/>
                  </a:lnTo>
                  <a:lnTo>
                    <a:pt x="1730569" y="1670316"/>
                  </a:lnTo>
                  <a:lnTo>
                    <a:pt x="1739305" y="1653247"/>
                  </a:lnTo>
                  <a:lnTo>
                    <a:pt x="1748041" y="1636575"/>
                  </a:lnTo>
                  <a:lnTo>
                    <a:pt x="1755983" y="1619109"/>
                  </a:lnTo>
                  <a:lnTo>
                    <a:pt x="1763529" y="1602040"/>
                  </a:lnTo>
                  <a:lnTo>
                    <a:pt x="1770676" y="1584177"/>
                  </a:lnTo>
                  <a:lnTo>
                    <a:pt x="1777427" y="1566314"/>
                  </a:lnTo>
                  <a:lnTo>
                    <a:pt x="1783781" y="1548452"/>
                  </a:lnTo>
                  <a:lnTo>
                    <a:pt x="1789737" y="1530192"/>
                  </a:lnTo>
                  <a:lnTo>
                    <a:pt x="1795694" y="1511535"/>
                  </a:lnTo>
                  <a:lnTo>
                    <a:pt x="1800459" y="1493275"/>
                  </a:lnTo>
                  <a:lnTo>
                    <a:pt x="1804827" y="1474222"/>
                  </a:lnTo>
                  <a:lnTo>
                    <a:pt x="1809195" y="1455168"/>
                  </a:lnTo>
                  <a:lnTo>
                    <a:pt x="1812769" y="1436114"/>
                  </a:lnTo>
                  <a:lnTo>
                    <a:pt x="1816343" y="1416664"/>
                  </a:lnTo>
                  <a:lnTo>
                    <a:pt x="1818726" y="1397213"/>
                  </a:lnTo>
                  <a:lnTo>
                    <a:pt x="1820711" y="1377763"/>
                  </a:lnTo>
                  <a:lnTo>
                    <a:pt x="1823094" y="1357915"/>
                  </a:lnTo>
                  <a:lnTo>
                    <a:pt x="1824285" y="1338067"/>
                  </a:lnTo>
                  <a:lnTo>
                    <a:pt x="1824682" y="1318220"/>
                  </a:lnTo>
                  <a:lnTo>
                    <a:pt x="1825079" y="1297975"/>
                  </a:lnTo>
                  <a:lnTo>
                    <a:pt x="1824682" y="1277731"/>
                  </a:lnTo>
                  <a:lnTo>
                    <a:pt x="1824285" y="1257883"/>
                  </a:lnTo>
                  <a:lnTo>
                    <a:pt x="1823094" y="1237639"/>
                  </a:lnTo>
                  <a:lnTo>
                    <a:pt x="1820711" y="1218188"/>
                  </a:lnTo>
                  <a:lnTo>
                    <a:pt x="1818726" y="1198341"/>
                  </a:lnTo>
                  <a:lnTo>
                    <a:pt x="1816343" y="1178890"/>
                  </a:lnTo>
                  <a:lnTo>
                    <a:pt x="1812769" y="1159440"/>
                  </a:lnTo>
                  <a:lnTo>
                    <a:pt x="1809195" y="1140783"/>
                  </a:lnTo>
                  <a:lnTo>
                    <a:pt x="1804827" y="1121729"/>
                  </a:lnTo>
                  <a:lnTo>
                    <a:pt x="1800459" y="1102676"/>
                  </a:lnTo>
                  <a:lnTo>
                    <a:pt x="1795694" y="1084019"/>
                  </a:lnTo>
                  <a:lnTo>
                    <a:pt x="1789737" y="1065362"/>
                  </a:lnTo>
                  <a:lnTo>
                    <a:pt x="1783781" y="1047500"/>
                  </a:lnTo>
                  <a:lnTo>
                    <a:pt x="1777427" y="1029240"/>
                  </a:lnTo>
                  <a:lnTo>
                    <a:pt x="1770676" y="1011377"/>
                  </a:lnTo>
                  <a:lnTo>
                    <a:pt x="1763529" y="993911"/>
                  </a:lnTo>
                  <a:lnTo>
                    <a:pt x="1755983" y="976048"/>
                  </a:lnTo>
                  <a:lnTo>
                    <a:pt x="1748041" y="959377"/>
                  </a:lnTo>
                  <a:lnTo>
                    <a:pt x="1739305" y="941911"/>
                  </a:lnTo>
                  <a:lnTo>
                    <a:pt x="1730569" y="925636"/>
                  </a:lnTo>
                  <a:lnTo>
                    <a:pt x="1721436" y="908964"/>
                  </a:lnTo>
                  <a:lnTo>
                    <a:pt x="1711508" y="892689"/>
                  </a:lnTo>
                  <a:lnTo>
                    <a:pt x="1701581" y="876811"/>
                  </a:lnTo>
                  <a:lnTo>
                    <a:pt x="1691256" y="860933"/>
                  </a:lnTo>
                  <a:lnTo>
                    <a:pt x="1680534" y="845452"/>
                  </a:lnTo>
                  <a:lnTo>
                    <a:pt x="1669415" y="830368"/>
                  </a:lnTo>
                  <a:lnTo>
                    <a:pt x="1657899" y="815680"/>
                  </a:lnTo>
                  <a:lnTo>
                    <a:pt x="1646383" y="800596"/>
                  </a:lnTo>
                  <a:lnTo>
                    <a:pt x="1634073" y="786306"/>
                  </a:lnTo>
                  <a:lnTo>
                    <a:pt x="1621763" y="772413"/>
                  </a:lnTo>
                  <a:lnTo>
                    <a:pt x="1608659" y="758520"/>
                  </a:lnTo>
                  <a:lnTo>
                    <a:pt x="1595555" y="745023"/>
                  </a:lnTo>
                  <a:lnTo>
                    <a:pt x="1582053" y="731924"/>
                  </a:lnTo>
                  <a:lnTo>
                    <a:pt x="1568551" y="719221"/>
                  </a:lnTo>
                  <a:lnTo>
                    <a:pt x="1554256" y="706519"/>
                  </a:lnTo>
                  <a:lnTo>
                    <a:pt x="1539960" y="694610"/>
                  </a:lnTo>
                  <a:lnTo>
                    <a:pt x="1525665" y="682702"/>
                  </a:lnTo>
                  <a:lnTo>
                    <a:pt x="1510575" y="671190"/>
                  </a:lnTo>
                  <a:lnTo>
                    <a:pt x="1495088" y="660473"/>
                  </a:lnTo>
                  <a:lnTo>
                    <a:pt x="1479998" y="649755"/>
                  </a:lnTo>
                  <a:lnTo>
                    <a:pt x="1464114" y="639037"/>
                  </a:lnTo>
                  <a:lnTo>
                    <a:pt x="1447833" y="629114"/>
                  </a:lnTo>
                  <a:lnTo>
                    <a:pt x="1431949" y="619587"/>
                  </a:lnTo>
                  <a:lnTo>
                    <a:pt x="1415667" y="610457"/>
                  </a:lnTo>
                  <a:lnTo>
                    <a:pt x="1398592" y="601724"/>
                  </a:lnTo>
                  <a:lnTo>
                    <a:pt x="1381914" y="593388"/>
                  </a:lnTo>
                  <a:lnTo>
                    <a:pt x="1364441" y="585449"/>
                  </a:lnTo>
                  <a:lnTo>
                    <a:pt x="1347366" y="577113"/>
                  </a:lnTo>
                  <a:lnTo>
                    <a:pt x="1329496" y="569968"/>
                  </a:lnTo>
                  <a:lnTo>
                    <a:pt x="1311627" y="563220"/>
                  </a:lnTo>
                  <a:lnTo>
                    <a:pt x="1293757" y="556869"/>
                  </a:lnTo>
                  <a:lnTo>
                    <a:pt x="1275093" y="550914"/>
                  </a:lnTo>
                  <a:lnTo>
                    <a:pt x="1256827" y="545754"/>
                  </a:lnTo>
                  <a:lnTo>
                    <a:pt x="1237766" y="540594"/>
                  </a:lnTo>
                  <a:lnTo>
                    <a:pt x="1219499" y="535830"/>
                  </a:lnTo>
                  <a:lnTo>
                    <a:pt x="1200438" y="531861"/>
                  </a:lnTo>
                  <a:lnTo>
                    <a:pt x="1180980" y="527891"/>
                  </a:lnTo>
                  <a:lnTo>
                    <a:pt x="1161919" y="525113"/>
                  </a:lnTo>
                  <a:lnTo>
                    <a:pt x="1142064" y="521937"/>
                  </a:lnTo>
                  <a:lnTo>
                    <a:pt x="1122606" y="519952"/>
                  </a:lnTo>
                  <a:lnTo>
                    <a:pt x="1103148" y="518364"/>
                  </a:lnTo>
                  <a:lnTo>
                    <a:pt x="1083293" y="516777"/>
                  </a:lnTo>
                  <a:lnTo>
                    <a:pt x="1063041" y="515983"/>
                  </a:lnTo>
                  <a:lnTo>
                    <a:pt x="1043186" y="515586"/>
                  </a:lnTo>
                  <a:close/>
                  <a:moveTo>
                    <a:pt x="803734" y="280988"/>
                  </a:moveTo>
                  <a:lnTo>
                    <a:pt x="862902" y="391340"/>
                  </a:lnTo>
                  <a:lnTo>
                    <a:pt x="884743" y="387371"/>
                  </a:lnTo>
                  <a:lnTo>
                    <a:pt x="906980" y="383798"/>
                  </a:lnTo>
                  <a:lnTo>
                    <a:pt x="929218" y="380622"/>
                  </a:lnTo>
                  <a:lnTo>
                    <a:pt x="951456" y="378241"/>
                  </a:lnTo>
                  <a:lnTo>
                    <a:pt x="974488" y="376256"/>
                  </a:lnTo>
                  <a:lnTo>
                    <a:pt x="997122" y="374668"/>
                  </a:lnTo>
                  <a:lnTo>
                    <a:pt x="1019757" y="373874"/>
                  </a:lnTo>
                  <a:lnTo>
                    <a:pt x="1043186" y="373477"/>
                  </a:lnTo>
                  <a:lnTo>
                    <a:pt x="1059865" y="373874"/>
                  </a:lnTo>
                  <a:lnTo>
                    <a:pt x="1076940" y="374271"/>
                  </a:lnTo>
                  <a:lnTo>
                    <a:pt x="1093618" y="375462"/>
                  </a:lnTo>
                  <a:lnTo>
                    <a:pt x="1110693" y="376256"/>
                  </a:lnTo>
                  <a:lnTo>
                    <a:pt x="1127372" y="377844"/>
                  </a:lnTo>
                  <a:lnTo>
                    <a:pt x="1144050" y="379432"/>
                  </a:lnTo>
                  <a:lnTo>
                    <a:pt x="1160331" y="381019"/>
                  </a:lnTo>
                  <a:lnTo>
                    <a:pt x="1176612" y="383798"/>
                  </a:lnTo>
                  <a:lnTo>
                    <a:pt x="1193291" y="386180"/>
                  </a:lnTo>
                  <a:lnTo>
                    <a:pt x="1209572" y="388958"/>
                  </a:lnTo>
                  <a:lnTo>
                    <a:pt x="1225853" y="392134"/>
                  </a:lnTo>
                  <a:lnTo>
                    <a:pt x="1241737" y="395310"/>
                  </a:lnTo>
                  <a:lnTo>
                    <a:pt x="1257621" y="399279"/>
                  </a:lnTo>
                  <a:lnTo>
                    <a:pt x="1273505" y="403249"/>
                  </a:lnTo>
                  <a:lnTo>
                    <a:pt x="1289389" y="407218"/>
                  </a:lnTo>
                  <a:lnTo>
                    <a:pt x="1304876" y="411982"/>
                  </a:lnTo>
                  <a:lnTo>
                    <a:pt x="1370398" y="304805"/>
                  </a:lnTo>
                  <a:lnTo>
                    <a:pt x="1611439" y="417142"/>
                  </a:lnTo>
                  <a:lnTo>
                    <a:pt x="1570140" y="539800"/>
                  </a:lnTo>
                  <a:lnTo>
                    <a:pt x="1592775" y="555678"/>
                  </a:lnTo>
                  <a:lnTo>
                    <a:pt x="1614615" y="572747"/>
                  </a:lnTo>
                  <a:lnTo>
                    <a:pt x="1636059" y="589815"/>
                  </a:lnTo>
                  <a:lnTo>
                    <a:pt x="1656708" y="608075"/>
                  </a:lnTo>
                  <a:lnTo>
                    <a:pt x="1676960" y="626732"/>
                  </a:lnTo>
                  <a:lnTo>
                    <a:pt x="1696815" y="645389"/>
                  </a:lnTo>
                  <a:lnTo>
                    <a:pt x="1715876" y="665236"/>
                  </a:lnTo>
                  <a:lnTo>
                    <a:pt x="1734540" y="685481"/>
                  </a:lnTo>
                  <a:lnTo>
                    <a:pt x="1752410" y="706519"/>
                  </a:lnTo>
                  <a:lnTo>
                    <a:pt x="1769882" y="728351"/>
                  </a:lnTo>
                  <a:lnTo>
                    <a:pt x="1786560" y="750184"/>
                  </a:lnTo>
                  <a:lnTo>
                    <a:pt x="1802841" y="772413"/>
                  </a:lnTo>
                  <a:lnTo>
                    <a:pt x="1818329" y="795436"/>
                  </a:lnTo>
                  <a:lnTo>
                    <a:pt x="1832624" y="818856"/>
                  </a:lnTo>
                  <a:lnTo>
                    <a:pt x="1846920" y="842673"/>
                  </a:lnTo>
                  <a:lnTo>
                    <a:pt x="1860024" y="866887"/>
                  </a:lnTo>
                  <a:lnTo>
                    <a:pt x="1994642" y="834337"/>
                  </a:lnTo>
                  <a:lnTo>
                    <a:pt x="2085975" y="1084019"/>
                  </a:lnTo>
                  <a:lnTo>
                    <a:pt x="1954931" y="1149516"/>
                  </a:lnTo>
                  <a:lnTo>
                    <a:pt x="1958108" y="1167776"/>
                  </a:lnTo>
                  <a:lnTo>
                    <a:pt x="1960491" y="1185638"/>
                  </a:lnTo>
                  <a:lnTo>
                    <a:pt x="1962476" y="1204295"/>
                  </a:lnTo>
                  <a:lnTo>
                    <a:pt x="1964462" y="1222952"/>
                  </a:lnTo>
                  <a:lnTo>
                    <a:pt x="1965653" y="1241212"/>
                  </a:lnTo>
                  <a:lnTo>
                    <a:pt x="1966447" y="1259868"/>
                  </a:lnTo>
                  <a:lnTo>
                    <a:pt x="1967242" y="1278922"/>
                  </a:lnTo>
                  <a:lnTo>
                    <a:pt x="1967242" y="1297975"/>
                  </a:lnTo>
                  <a:lnTo>
                    <a:pt x="1967242" y="1315441"/>
                  </a:lnTo>
                  <a:lnTo>
                    <a:pt x="1966845" y="1332907"/>
                  </a:lnTo>
                  <a:lnTo>
                    <a:pt x="1966050" y="1349976"/>
                  </a:lnTo>
                  <a:lnTo>
                    <a:pt x="1964859" y="1367839"/>
                  </a:lnTo>
                  <a:lnTo>
                    <a:pt x="1962873" y="1385305"/>
                  </a:lnTo>
                  <a:lnTo>
                    <a:pt x="1961285" y="1401977"/>
                  </a:lnTo>
                  <a:lnTo>
                    <a:pt x="1959300" y="1419442"/>
                  </a:lnTo>
                  <a:lnTo>
                    <a:pt x="1957314" y="1436114"/>
                  </a:lnTo>
                  <a:lnTo>
                    <a:pt x="1954137" y="1453183"/>
                  </a:lnTo>
                  <a:lnTo>
                    <a:pt x="1951357" y="1469855"/>
                  </a:lnTo>
                  <a:lnTo>
                    <a:pt x="1947784" y="1486527"/>
                  </a:lnTo>
                  <a:lnTo>
                    <a:pt x="1944210" y="1503199"/>
                  </a:lnTo>
                  <a:lnTo>
                    <a:pt x="1940239" y="1519871"/>
                  </a:lnTo>
                  <a:lnTo>
                    <a:pt x="1935871" y="1535749"/>
                  </a:lnTo>
                  <a:lnTo>
                    <a:pt x="1931899" y="1552024"/>
                  </a:lnTo>
                  <a:lnTo>
                    <a:pt x="1926737" y="1568299"/>
                  </a:lnTo>
                  <a:lnTo>
                    <a:pt x="2061355" y="1650468"/>
                  </a:lnTo>
                  <a:lnTo>
                    <a:pt x="1949372" y="1891020"/>
                  </a:lnTo>
                  <a:lnTo>
                    <a:pt x="1791723" y="1838623"/>
                  </a:lnTo>
                  <a:lnTo>
                    <a:pt x="1776633" y="1859264"/>
                  </a:lnTo>
                  <a:lnTo>
                    <a:pt x="1761146" y="1879112"/>
                  </a:lnTo>
                  <a:lnTo>
                    <a:pt x="1744468" y="1898165"/>
                  </a:lnTo>
                  <a:lnTo>
                    <a:pt x="1728186" y="1917219"/>
                  </a:lnTo>
                  <a:lnTo>
                    <a:pt x="1710714" y="1935876"/>
                  </a:lnTo>
                  <a:lnTo>
                    <a:pt x="1693241" y="1954135"/>
                  </a:lnTo>
                  <a:lnTo>
                    <a:pt x="1674975" y="1971204"/>
                  </a:lnTo>
                  <a:lnTo>
                    <a:pt x="1655914" y="1988670"/>
                  </a:lnTo>
                  <a:lnTo>
                    <a:pt x="1636853" y="2004945"/>
                  </a:lnTo>
                  <a:lnTo>
                    <a:pt x="1616998" y="2021220"/>
                  </a:lnTo>
                  <a:lnTo>
                    <a:pt x="1597143" y="2036701"/>
                  </a:lnTo>
                  <a:lnTo>
                    <a:pt x="1576494" y="2051388"/>
                  </a:lnTo>
                  <a:lnTo>
                    <a:pt x="1555844" y="2066075"/>
                  </a:lnTo>
                  <a:lnTo>
                    <a:pt x="1534401" y="2079572"/>
                  </a:lnTo>
                  <a:lnTo>
                    <a:pt x="1512957" y="2093068"/>
                  </a:lnTo>
                  <a:lnTo>
                    <a:pt x="1491117" y="2105770"/>
                  </a:lnTo>
                  <a:lnTo>
                    <a:pt x="1531621" y="2274474"/>
                  </a:lnTo>
                  <a:lnTo>
                    <a:pt x="1281844" y="2365376"/>
                  </a:lnTo>
                  <a:lnTo>
                    <a:pt x="1202821" y="2207787"/>
                  </a:lnTo>
                  <a:lnTo>
                    <a:pt x="1183363" y="2210962"/>
                  </a:lnTo>
                  <a:lnTo>
                    <a:pt x="1163508" y="2213741"/>
                  </a:lnTo>
                  <a:lnTo>
                    <a:pt x="1144050" y="2216123"/>
                  </a:lnTo>
                  <a:lnTo>
                    <a:pt x="1124195" y="2218504"/>
                  </a:lnTo>
                  <a:lnTo>
                    <a:pt x="1103943" y="2219695"/>
                  </a:lnTo>
                  <a:lnTo>
                    <a:pt x="1083690" y="2220886"/>
                  </a:lnTo>
                  <a:lnTo>
                    <a:pt x="1063438" y="2221680"/>
                  </a:lnTo>
                  <a:lnTo>
                    <a:pt x="1043186" y="2221680"/>
                  </a:lnTo>
                  <a:lnTo>
                    <a:pt x="1013007" y="2221283"/>
                  </a:lnTo>
                  <a:lnTo>
                    <a:pt x="983224" y="2220092"/>
                  </a:lnTo>
                  <a:lnTo>
                    <a:pt x="954235" y="2217711"/>
                  </a:lnTo>
                  <a:lnTo>
                    <a:pt x="924850" y="2214535"/>
                  </a:lnTo>
                  <a:lnTo>
                    <a:pt x="895862" y="2210565"/>
                  </a:lnTo>
                  <a:lnTo>
                    <a:pt x="867270" y="2205405"/>
                  </a:lnTo>
                  <a:lnTo>
                    <a:pt x="839076" y="2199451"/>
                  </a:lnTo>
                  <a:lnTo>
                    <a:pt x="810882" y="2192703"/>
                  </a:lnTo>
                  <a:lnTo>
                    <a:pt x="715180" y="2341162"/>
                  </a:lnTo>
                  <a:lnTo>
                    <a:pt x="474536" y="2229222"/>
                  </a:lnTo>
                  <a:lnTo>
                    <a:pt x="524968" y="2062900"/>
                  </a:lnTo>
                  <a:lnTo>
                    <a:pt x="504716" y="2049006"/>
                  </a:lnTo>
                  <a:lnTo>
                    <a:pt x="484464" y="2033525"/>
                  </a:lnTo>
                  <a:lnTo>
                    <a:pt x="465006" y="2018441"/>
                  </a:lnTo>
                  <a:lnTo>
                    <a:pt x="445945" y="2002960"/>
                  </a:lnTo>
                  <a:lnTo>
                    <a:pt x="427281" y="1986288"/>
                  </a:lnTo>
                  <a:lnTo>
                    <a:pt x="408617" y="1969616"/>
                  </a:lnTo>
                  <a:lnTo>
                    <a:pt x="390748" y="1952151"/>
                  </a:lnTo>
                  <a:lnTo>
                    <a:pt x="373672" y="1934685"/>
                  </a:lnTo>
                  <a:lnTo>
                    <a:pt x="356597" y="1916028"/>
                  </a:lnTo>
                  <a:lnTo>
                    <a:pt x="340316" y="1897371"/>
                  </a:lnTo>
                  <a:lnTo>
                    <a:pt x="324432" y="1878715"/>
                  </a:lnTo>
                  <a:lnTo>
                    <a:pt x="308548" y="1858867"/>
                  </a:lnTo>
                  <a:lnTo>
                    <a:pt x="293855" y="1839020"/>
                  </a:lnTo>
                  <a:lnTo>
                    <a:pt x="279559" y="1818775"/>
                  </a:lnTo>
                  <a:lnTo>
                    <a:pt x="265661" y="1797737"/>
                  </a:lnTo>
                  <a:lnTo>
                    <a:pt x="252556" y="1776301"/>
                  </a:lnTo>
                  <a:lnTo>
                    <a:pt x="91333" y="1811630"/>
                  </a:lnTo>
                  <a:lnTo>
                    <a:pt x="0" y="1562345"/>
                  </a:lnTo>
                  <a:lnTo>
                    <a:pt x="138191" y="1488512"/>
                  </a:lnTo>
                  <a:lnTo>
                    <a:pt x="133426" y="1465092"/>
                  </a:lnTo>
                  <a:lnTo>
                    <a:pt x="129852" y="1441672"/>
                  </a:lnTo>
                  <a:lnTo>
                    <a:pt x="126278" y="1418251"/>
                  </a:lnTo>
                  <a:lnTo>
                    <a:pt x="123498" y="1394434"/>
                  </a:lnTo>
                  <a:lnTo>
                    <a:pt x="121513" y="1370220"/>
                  </a:lnTo>
                  <a:lnTo>
                    <a:pt x="119527" y="1346403"/>
                  </a:lnTo>
                  <a:lnTo>
                    <a:pt x="118733" y="1322189"/>
                  </a:lnTo>
                  <a:lnTo>
                    <a:pt x="118336" y="1297975"/>
                  </a:lnTo>
                  <a:lnTo>
                    <a:pt x="118733" y="1269395"/>
                  </a:lnTo>
                  <a:lnTo>
                    <a:pt x="119924" y="1240418"/>
                  </a:lnTo>
                  <a:lnTo>
                    <a:pt x="122704" y="1211837"/>
                  </a:lnTo>
                  <a:lnTo>
                    <a:pt x="125484" y="1184051"/>
                  </a:lnTo>
                  <a:lnTo>
                    <a:pt x="129455" y="1155867"/>
                  </a:lnTo>
                  <a:lnTo>
                    <a:pt x="134220" y="1128478"/>
                  </a:lnTo>
                  <a:lnTo>
                    <a:pt x="139780" y="1101088"/>
                  </a:lnTo>
                  <a:lnTo>
                    <a:pt x="146133" y="1074095"/>
                  </a:lnTo>
                  <a:lnTo>
                    <a:pt x="24223" y="995896"/>
                  </a:lnTo>
                  <a:lnTo>
                    <a:pt x="136603" y="755344"/>
                  </a:lnTo>
                  <a:lnTo>
                    <a:pt x="268043" y="794642"/>
                  </a:lnTo>
                  <a:lnTo>
                    <a:pt x="283530" y="772016"/>
                  </a:lnTo>
                  <a:lnTo>
                    <a:pt x="299017" y="750184"/>
                  </a:lnTo>
                  <a:lnTo>
                    <a:pt x="315696" y="728351"/>
                  </a:lnTo>
                  <a:lnTo>
                    <a:pt x="332771" y="707313"/>
                  </a:lnTo>
                  <a:lnTo>
                    <a:pt x="350243" y="686274"/>
                  </a:lnTo>
                  <a:lnTo>
                    <a:pt x="368907" y="666824"/>
                  </a:lnTo>
                  <a:lnTo>
                    <a:pt x="387571" y="646976"/>
                  </a:lnTo>
                  <a:lnTo>
                    <a:pt x="407426" y="627923"/>
                  </a:lnTo>
                  <a:lnTo>
                    <a:pt x="427281" y="609266"/>
                  </a:lnTo>
                  <a:lnTo>
                    <a:pt x="447930" y="591403"/>
                  </a:lnTo>
                  <a:lnTo>
                    <a:pt x="468977" y="574334"/>
                  </a:lnTo>
                  <a:lnTo>
                    <a:pt x="490420" y="557662"/>
                  </a:lnTo>
                  <a:lnTo>
                    <a:pt x="512261" y="541784"/>
                  </a:lnTo>
                  <a:lnTo>
                    <a:pt x="535293" y="526303"/>
                  </a:lnTo>
                  <a:lnTo>
                    <a:pt x="557928" y="511616"/>
                  </a:lnTo>
                  <a:lnTo>
                    <a:pt x="581754" y="497723"/>
                  </a:lnTo>
                  <a:lnTo>
                    <a:pt x="554354" y="371890"/>
                  </a:lnTo>
                  <a:lnTo>
                    <a:pt x="803734" y="280988"/>
                  </a:lnTo>
                  <a:close/>
                  <a:moveTo>
                    <a:pt x="2013752" y="186531"/>
                  </a:moveTo>
                  <a:lnTo>
                    <a:pt x="2001871" y="186928"/>
                  </a:lnTo>
                  <a:lnTo>
                    <a:pt x="1989594" y="188119"/>
                  </a:lnTo>
                  <a:lnTo>
                    <a:pt x="1978109" y="190103"/>
                  </a:lnTo>
                  <a:lnTo>
                    <a:pt x="1966624" y="192881"/>
                  </a:lnTo>
                  <a:lnTo>
                    <a:pt x="1955139" y="196453"/>
                  </a:lnTo>
                  <a:lnTo>
                    <a:pt x="1944050" y="200819"/>
                  </a:lnTo>
                  <a:lnTo>
                    <a:pt x="1932962" y="205978"/>
                  </a:lnTo>
                  <a:lnTo>
                    <a:pt x="1922269" y="211534"/>
                  </a:lnTo>
                  <a:lnTo>
                    <a:pt x="1914348" y="216297"/>
                  </a:lnTo>
                  <a:lnTo>
                    <a:pt x="1906823" y="221853"/>
                  </a:lnTo>
                  <a:lnTo>
                    <a:pt x="1899695" y="227409"/>
                  </a:lnTo>
                  <a:lnTo>
                    <a:pt x="1892962" y="233363"/>
                  </a:lnTo>
                  <a:lnTo>
                    <a:pt x="1886230" y="239713"/>
                  </a:lnTo>
                  <a:lnTo>
                    <a:pt x="1880289" y="246063"/>
                  </a:lnTo>
                  <a:lnTo>
                    <a:pt x="1874349" y="252809"/>
                  </a:lnTo>
                  <a:lnTo>
                    <a:pt x="1869200" y="259953"/>
                  </a:lnTo>
                  <a:lnTo>
                    <a:pt x="1864052" y="267097"/>
                  </a:lnTo>
                  <a:lnTo>
                    <a:pt x="1859300" y="274241"/>
                  </a:lnTo>
                  <a:lnTo>
                    <a:pt x="1855339" y="281781"/>
                  </a:lnTo>
                  <a:lnTo>
                    <a:pt x="1850983" y="289719"/>
                  </a:lnTo>
                  <a:lnTo>
                    <a:pt x="1847419" y="297656"/>
                  </a:lnTo>
                  <a:lnTo>
                    <a:pt x="1844646" y="305594"/>
                  </a:lnTo>
                  <a:lnTo>
                    <a:pt x="1841874" y="313928"/>
                  </a:lnTo>
                  <a:lnTo>
                    <a:pt x="1839102" y="322263"/>
                  </a:lnTo>
                  <a:lnTo>
                    <a:pt x="1837518" y="330597"/>
                  </a:lnTo>
                  <a:lnTo>
                    <a:pt x="1835934" y="339328"/>
                  </a:lnTo>
                  <a:lnTo>
                    <a:pt x="1834350" y="348059"/>
                  </a:lnTo>
                  <a:lnTo>
                    <a:pt x="1833557" y="356791"/>
                  </a:lnTo>
                  <a:lnTo>
                    <a:pt x="1833557" y="365125"/>
                  </a:lnTo>
                  <a:lnTo>
                    <a:pt x="1833557" y="373856"/>
                  </a:lnTo>
                  <a:lnTo>
                    <a:pt x="1833953" y="382984"/>
                  </a:lnTo>
                  <a:lnTo>
                    <a:pt x="1835142" y="391716"/>
                  </a:lnTo>
                  <a:lnTo>
                    <a:pt x="1836726" y="400050"/>
                  </a:lnTo>
                  <a:lnTo>
                    <a:pt x="1838310" y="409178"/>
                  </a:lnTo>
                  <a:lnTo>
                    <a:pt x="1840290" y="417513"/>
                  </a:lnTo>
                  <a:lnTo>
                    <a:pt x="1843458" y="426244"/>
                  </a:lnTo>
                  <a:lnTo>
                    <a:pt x="1846230" y="434578"/>
                  </a:lnTo>
                  <a:lnTo>
                    <a:pt x="1850191" y="443310"/>
                  </a:lnTo>
                  <a:lnTo>
                    <a:pt x="1853755" y="451247"/>
                  </a:lnTo>
                  <a:lnTo>
                    <a:pt x="1858507" y="459581"/>
                  </a:lnTo>
                  <a:lnTo>
                    <a:pt x="1864844" y="469503"/>
                  </a:lnTo>
                  <a:lnTo>
                    <a:pt x="1871973" y="479028"/>
                  </a:lnTo>
                  <a:lnTo>
                    <a:pt x="1879497" y="488156"/>
                  </a:lnTo>
                  <a:lnTo>
                    <a:pt x="1887418" y="496888"/>
                  </a:lnTo>
                  <a:lnTo>
                    <a:pt x="1896527" y="504428"/>
                  </a:lnTo>
                  <a:lnTo>
                    <a:pt x="1905239" y="511969"/>
                  </a:lnTo>
                  <a:lnTo>
                    <a:pt x="1914744" y="518716"/>
                  </a:lnTo>
                  <a:lnTo>
                    <a:pt x="1924645" y="524669"/>
                  </a:lnTo>
                  <a:lnTo>
                    <a:pt x="1934942" y="529828"/>
                  </a:lnTo>
                  <a:lnTo>
                    <a:pt x="1945635" y="534988"/>
                  </a:lnTo>
                  <a:lnTo>
                    <a:pt x="1956723" y="538956"/>
                  </a:lnTo>
                  <a:lnTo>
                    <a:pt x="1967812" y="542131"/>
                  </a:lnTo>
                  <a:lnTo>
                    <a:pt x="1979297" y="545306"/>
                  </a:lnTo>
                  <a:lnTo>
                    <a:pt x="1990782" y="546894"/>
                  </a:lnTo>
                  <a:lnTo>
                    <a:pt x="2002267" y="548085"/>
                  </a:lnTo>
                  <a:lnTo>
                    <a:pt x="2014544" y="548481"/>
                  </a:lnTo>
                  <a:lnTo>
                    <a:pt x="2026425" y="548085"/>
                  </a:lnTo>
                  <a:lnTo>
                    <a:pt x="2038306" y="546894"/>
                  </a:lnTo>
                  <a:lnTo>
                    <a:pt x="2049791" y="544910"/>
                  </a:lnTo>
                  <a:lnTo>
                    <a:pt x="2061672" y="542131"/>
                  </a:lnTo>
                  <a:lnTo>
                    <a:pt x="2073157" y="538560"/>
                  </a:lnTo>
                  <a:lnTo>
                    <a:pt x="2084246" y="534194"/>
                  </a:lnTo>
                  <a:lnTo>
                    <a:pt x="2095335" y="529035"/>
                  </a:lnTo>
                  <a:lnTo>
                    <a:pt x="2106028" y="523081"/>
                  </a:lnTo>
                  <a:lnTo>
                    <a:pt x="2113552" y="518716"/>
                  </a:lnTo>
                  <a:lnTo>
                    <a:pt x="2121077" y="513556"/>
                  </a:lnTo>
                  <a:lnTo>
                    <a:pt x="2128206" y="508000"/>
                  </a:lnTo>
                  <a:lnTo>
                    <a:pt x="2134938" y="502047"/>
                  </a:lnTo>
                  <a:lnTo>
                    <a:pt x="2141275" y="496491"/>
                  </a:lnTo>
                  <a:lnTo>
                    <a:pt x="2147215" y="490141"/>
                  </a:lnTo>
                  <a:lnTo>
                    <a:pt x="2153156" y="483394"/>
                  </a:lnTo>
                  <a:lnTo>
                    <a:pt x="2158304" y="476647"/>
                  </a:lnTo>
                  <a:lnTo>
                    <a:pt x="2163452" y="469503"/>
                  </a:lnTo>
                  <a:lnTo>
                    <a:pt x="2168601" y="461566"/>
                  </a:lnTo>
                  <a:lnTo>
                    <a:pt x="2172957" y="454025"/>
                  </a:lnTo>
                  <a:lnTo>
                    <a:pt x="2176917" y="446485"/>
                  </a:lnTo>
                  <a:lnTo>
                    <a:pt x="2180482" y="438150"/>
                  </a:lnTo>
                  <a:lnTo>
                    <a:pt x="2183650" y="430213"/>
                  </a:lnTo>
                  <a:lnTo>
                    <a:pt x="2186818" y="421481"/>
                  </a:lnTo>
                  <a:lnTo>
                    <a:pt x="2189195" y="412750"/>
                  </a:lnTo>
                  <a:lnTo>
                    <a:pt x="2191175" y="404019"/>
                  </a:lnTo>
                  <a:lnTo>
                    <a:pt x="2192363" y="395288"/>
                  </a:lnTo>
                  <a:lnTo>
                    <a:pt x="2193947" y="386159"/>
                  </a:lnTo>
                  <a:lnTo>
                    <a:pt x="2194739" y="377428"/>
                  </a:lnTo>
                  <a:lnTo>
                    <a:pt x="2194739" y="368697"/>
                  </a:lnTo>
                  <a:lnTo>
                    <a:pt x="2194739" y="359569"/>
                  </a:lnTo>
                  <a:lnTo>
                    <a:pt x="2194343" y="351234"/>
                  </a:lnTo>
                  <a:lnTo>
                    <a:pt x="2192759" y="342503"/>
                  </a:lnTo>
                  <a:lnTo>
                    <a:pt x="2191571" y="333375"/>
                  </a:lnTo>
                  <a:lnTo>
                    <a:pt x="2189591" y="325041"/>
                  </a:lnTo>
                  <a:lnTo>
                    <a:pt x="2187610" y="316706"/>
                  </a:lnTo>
                  <a:lnTo>
                    <a:pt x="2184838" y="308372"/>
                  </a:lnTo>
                  <a:lnTo>
                    <a:pt x="2181670" y="299641"/>
                  </a:lnTo>
                  <a:lnTo>
                    <a:pt x="2178106" y="291703"/>
                  </a:lnTo>
                  <a:lnTo>
                    <a:pt x="2174145" y="283766"/>
                  </a:lnTo>
                  <a:lnTo>
                    <a:pt x="2169789" y="275828"/>
                  </a:lnTo>
                  <a:lnTo>
                    <a:pt x="2163452" y="265509"/>
                  </a:lnTo>
                  <a:lnTo>
                    <a:pt x="2156324" y="255984"/>
                  </a:lnTo>
                  <a:lnTo>
                    <a:pt x="2148799" y="247253"/>
                  </a:lnTo>
                  <a:lnTo>
                    <a:pt x="2140879" y="238522"/>
                  </a:lnTo>
                  <a:lnTo>
                    <a:pt x="2131770" y="230584"/>
                  </a:lnTo>
                  <a:lnTo>
                    <a:pt x="2123057" y="223441"/>
                  </a:lnTo>
                  <a:lnTo>
                    <a:pt x="2113552" y="216694"/>
                  </a:lnTo>
                  <a:lnTo>
                    <a:pt x="2103255" y="210344"/>
                  </a:lnTo>
                  <a:lnTo>
                    <a:pt x="2093355" y="204788"/>
                  </a:lnTo>
                  <a:lnTo>
                    <a:pt x="2082662" y="200422"/>
                  </a:lnTo>
                  <a:lnTo>
                    <a:pt x="2071969" y="196056"/>
                  </a:lnTo>
                  <a:lnTo>
                    <a:pt x="2060484" y="192881"/>
                  </a:lnTo>
                  <a:lnTo>
                    <a:pt x="2048999" y="190103"/>
                  </a:lnTo>
                  <a:lnTo>
                    <a:pt x="2037118" y="188119"/>
                  </a:lnTo>
                  <a:lnTo>
                    <a:pt x="2025633" y="186928"/>
                  </a:lnTo>
                  <a:lnTo>
                    <a:pt x="2013752" y="186531"/>
                  </a:lnTo>
                  <a:close/>
                  <a:moveTo>
                    <a:pt x="2066028" y="0"/>
                  </a:moveTo>
                  <a:lnTo>
                    <a:pt x="2156324" y="23812"/>
                  </a:lnTo>
                  <a:lnTo>
                    <a:pt x="2146027" y="100013"/>
                  </a:lnTo>
                  <a:lnTo>
                    <a:pt x="2140916" y="118533"/>
                  </a:lnTo>
                  <a:lnTo>
                    <a:pt x="2134542" y="115094"/>
                  </a:lnTo>
                  <a:lnTo>
                    <a:pt x="2132671" y="114357"/>
                  </a:lnTo>
                  <a:lnTo>
                    <a:pt x="2132562" y="114300"/>
                  </a:lnTo>
                  <a:lnTo>
                    <a:pt x="2123453" y="110728"/>
                  </a:lnTo>
                  <a:lnTo>
                    <a:pt x="2132671" y="114357"/>
                  </a:lnTo>
                  <a:lnTo>
                    <a:pt x="2140879" y="118666"/>
                  </a:lnTo>
                  <a:lnTo>
                    <a:pt x="2140916" y="118533"/>
                  </a:lnTo>
                  <a:lnTo>
                    <a:pt x="2144839" y="120650"/>
                  </a:lnTo>
                  <a:lnTo>
                    <a:pt x="2153552" y="125413"/>
                  </a:lnTo>
                  <a:lnTo>
                    <a:pt x="2167413" y="133747"/>
                  </a:lnTo>
                  <a:lnTo>
                    <a:pt x="2174145" y="138113"/>
                  </a:lnTo>
                  <a:lnTo>
                    <a:pt x="2180878" y="142875"/>
                  </a:lnTo>
                  <a:lnTo>
                    <a:pt x="2181274" y="143272"/>
                  </a:lnTo>
                  <a:lnTo>
                    <a:pt x="2187610" y="148034"/>
                  </a:lnTo>
                  <a:lnTo>
                    <a:pt x="2193947" y="153194"/>
                  </a:lnTo>
                  <a:lnTo>
                    <a:pt x="2205432" y="163909"/>
                  </a:lnTo>
                  <a:lnTo>
                    <a:pt x="2212560" y="170656"/>
                  </a:lnTo>
                  <a:lnTo>
                    <a:pt x="2221273" y="180181"/>
                  </a:lnTo>
                  <a:lnTo>
                    <a:pt x="2226433" y="186128"/>
                  </a:lnTo>
                  <a:lnTo>
                    <a:pt x="2226422" y="186134"/>
                  </a:lnTo>
                  <a:lnTo>
                    <a:pt x="2229194" y="189309"/>
                  </a:lnTo>
                  <a:lnTo>
                    <a:pt x="2226433" y="186128"/>
                  </a:lnTo>
                  <a:lnTo>
                    <a:pt x="2244639" y="175419"/>
                  </a:lnTo>
                  <a:lnTo>
                    <a:pt x="2315925" y="143669"/>
                  </a:lnTo>
                  <a:lnTo>
                    <a:pt x="2363053" y="224234"/>
                  </a:lnTo>
                  <a:lnTo>
                    <a:pt x="2302064" y="270669"/>
                  </a:lnTo>
                  <a:lnTo>
                    <a:pt x="2280282" y="283369"/>
                  </a:lnTo>
                  <a:lnTo>
                    <a:pt x="2284242" y="296466"/>
                  </a:lnTo>
                  <a:lnTo>
                    <a:pt x="2287015" y="309166"/>
                  </a:lnTo>
                  <a:lnTo>
                    <a:pt x="2289787" y="322263"/>
                  </a:lnTo>
                  <a:lnTo>
                    <a:pt x="2291371" y="335359"/>
                  </a:lnTo>
                  <a:lnTo>
                    <a:pt x="2292559" y="348456"/>
                  </a:lnTo>
                  <a:lnTo>
                    <a:pt x="2293351" y="361553"/>
                  </a:lnTo>
                  <a:lnTo>
                    <a:pt x="2293351" y="374650"/>
                  </a:lnTo>
                  <a:lnTo>
                    <a:pt x="2292559" y="387350"/>
                  </a:lnTo>
                  <a:lnTo>
                    <a:pt x="2318301" y="394097"/>
                  </a:lnTo>
                  <a:lnTo>
                    <a:pt x="2390775" y="422275"/>
                  </a:lnTo>
                  <a:lnTo>
                    <a:pt x="2367409" y="512763"/>
                  </a:lnTo>
                  <a:lnTo>
                    <a:pt x="2291371" y="502047"/>
                  </a:lnTo>
                  <a:lnTo>
                    <a:pt x="2262857" y="494506"/>
                  </a:lnTo>
                  <a:lnTo>
                    <a:pt x="2256916" y="506016"/>
                  </a:lnTo>
                  <a:lnTo>
                    <a:pt x="2250183" y="517128"/>
                  </a:lnTo>
                  <a:lnTo>
                    <a:pt x="2243451" y="527447"/>
                  </a:lnTo>
                  <a:lnTo>
                    <a:pt x="2235926" y="537766"/>
                  </a:lnTo>
                  <a:lnTo>
                    <a:pt x="2228006" y="547688"/>
                  </a:lnTo>
                  <a:lnTo>
                    <a:pt x="2219293" y="557610"/>
                  </a:lnTo>
                  <a:lnTo>
                    <a:pt x="2210580" y="566738"/>
                  </a:lnTo>
                  <a:lnTo>
                    <a:pt x="2201075" y="575469"/>
                  </a:lnTo>
                  <a:lnTo>
                    <a:pt x="2216125" y="601266"/>
                  </a:lnTo>
                  <a:lnTo>
                    <a:pt x="2247807" y="671910"/>
                  </a:lnTo>
                  <a:lnTo>
                    <a:pt x="2167413" y="719932"/>
                  </a:lnTo>
                  <a:lnTo>
                    <a:pt x="2121077" y="658416"/>
                  </a:lnTo>
                  <a:lnTo>
                    <a:pt x="2105632" y="632222"/>
                  </a:lnTo>
                  <a:lnTo>
                    <a:pt x="2110780" y="629841"/>
                  </a:lnTo>
                  <a:lnTo>
                    <a:pt x="2115929" y="627857"/>
                  </a:lnTo>
                  <a:lnTo>
                    <a:pt x="2104048" y="632222"/>
                  </a:lnTo>
                  <a:lnTo>
                    <a:pt x="2092563" y="635794"/>
                  </a:lnTo>
                  <a:lnTo>
                    <a:pt x="2083058" y="638969"/>
                  </a:lnTo>
                  <a:lnTo>
                    <a:pt x="2067217" y="642541"/>
                  </a:lnTo>
                  <a:lnTo>
                    <a:pt x="2059296" y="643732"/>
                  </a:lnTo>
                  <a:lnTo>
                    <a:pt x="2050583" y="644922"/>
                  </a:lnTo>
                  <a:lnTo>
                    <a:pt x="2048999" y="644922"/>
                  </a:lnTo>
                  <a:lnTo>
                    <a:pt x="2033554" y="646907"/>
                  </a:lnTo>
                  <a:lnTo>
                    <a:pt x="2018505" y="647303"/>
                  </a:lnTo>
                  <a:lnTo>
                    <a:pt x="2014544" y="647700"/>
                  </a:lnTo>
                  <a:lnTo>
                    <a:pt x="2008208" y="647303"/>
                  </a:lnTo>
                  <a:lnTo>
                    <a:pt x="2002617" y="647117"/>
                  </a:lnTo>
                  <a:lnTo>
                    <a:pt x="1994743" y="646510"/>
                  </a:lnTo>
                  <a:lnTo>
                    <a:pt x="1984842" y="645716"/>
                  </a:lnTo>
                  <a:lnTo>
                    <a:pt x="1996327" y="646907"/>
                  </a:lnTo>
                  <a:lnTo>
                    <a:pt x="2002617" y="647117"/>
                  </a:lnTo>
                  <a:lnTo>
                    <a:pt x="2005039" y="647303"/>
                  </a:lnTo>
                  <a:lnTo>
                    <a:pt x="1994347" y="687785"/>
                  </a:lnTo>
                  <a:lnTo>
                    <a:pt x="1970189" y="747713"/>
                  </a:lnTo>
                  <a:lnTo>
                    <a:pt x="1879497" y="724297"/>
                  </a:lnTo>
                  <a:lnTo>
                    <a:pt x="1886230" y="662385"/>
                  </a:lnTo>
                  <a:lnTo>
                    <a:pt x="1896923" y="621507"/>
                  </a:lnTo>
                  <a:lnTo>
                    <a:pt x="1904447" y="625078"/>
                  </a:lnTo>
                  <a:lnTo>
                    <a:pt x="1893754" y="619919"/>
                  </a:lnTo>
                  <a:lnTo>
                    <a:pt x="1883061" y="614363"/>
                  </a:lnTo>
                  <a:lnTo>
                    <a:pt x="1874745" y="609997"/>
                  </a:lnTo>
                  <a:lnTo>
                    <a:pt x="1860884" y="601663"/>
                  </a:lnTo>
                  <a:lnTo>
                    <a:pt x="1854151" y="596900"/>
                  </a:lnTo>
                  <a:lnTo>
                    <a:pt x="1847419" y="592535"/>
                  </a:lnTo>
                  <a:lnTo>
                    <a:pt x="1846627" y="592138"/>
                  </a:lnTo>
                  <a:lnTo>
                    <a:pt x="1840290" y="586978"/>
                  </a:lnTo>
                  <a:lnTo>
                    <a:pt x="1834350" y="581819"/>
                  </a:lnTo>
                  <a:lnTo>
                    <a:pt x="1822469" y="571103"/>
                  </a:lnTo>
                  <a:lnTo>
                    <a:pt x="1815736" y="564356"/>
                  </a:lnTo>
                  <a:lnTo>
                    <a:pt x="1809516" y="557841"/>
                  </a:lnTo>
                  <a:lnTo>
                    <a:pt x="1805439" y="553244"/>
                  </a:lnTo>
                  <a:lnTo>
                    <a:pt x="1799103" y="545703"/>
                  </a:lnTo>
                  <a:lnTo>
                    <a:pt x="1807023" y="555228"/>
                  </a:lnTo>
                  <a:lnTo>
                    <a:pt x="1809516" y="557841"/>
                  </a:lnTo>
                  <a:lnTo>
                    <a:pt x="1811776" y="560388"/>
                  </a:lnTo>
                  <a:lnTo>
                    <a:pt x="1779697" y="579438"/>
                  </a:lnTo>
                  <a:lnTo>
                    <a:pt x="1720292" y="604044"/>
                  </a:lnTo>
                  <a:lnTo>
                    <a:pt x="1673164" y="523875"/>
                  </a:lnTo>
                  <a:lnTo>
                    <a:pt x="1721480" y="484585"/>
                  </a:lnTo>
                  <a:lnTo>
                    <a:pt x="1752767" y="465931"/>
                  </a:lnTo>
                  <a:lnTo>
                    <a:pt x="1748410" y="452835"/>
                  </a:lnTo>
                  <a:lnTo>
                    <a:pt x="1744450" y="439341"/>
                  </a:lnTo>
                  <a:lnTo>
                    <a:pt x="1741282" y="425847"/>
                  </a:lnTo>
                  <a:lnTo>
                    <a:pt x="1738510" y="412353"/>
                  </a:lnTo>
                  <a:lnTo>
                    <a:pt x="1736530" y="398860"/>
                  </a:lnTo>
                  <a:lnTo>
                    <a:pt x="1735737" y="385366"/>
                  </a:lnTo>
                  <a:lnTo>
                    <a:pt x="1734945" y="371475"/>
                  </a:lnTo>
                  <a:lnTo>
                    <a:pt x="1735341" y="357981"/>
                  </a:lnTo>
                  <a:lnTo>
                    <a:pt x="1704451" y="350441"/>
                  </a:lnTo>
                  <a:lnTo>
                    <a:pt x="1644650" y="325438"/>
                  </a:lnTo>
                  <a:lnTo>
                    <a:pt x="1668412" y="235347"/>
                  </a:lnTo>
                  <a:lnTo>
                    <a:pt x="1730193" y="242094"/>
                  </a:lnTo>
                  <a:lnTo>
                    <a:pt x="1760687" y="250031"/>
                  </a:lnTo>
                  <a:lnTo>
                    <a:pt x="1766628" y="237331"/>
                  </a:lnTo>
                  <a:lnTo>
                    <a:pt x="1773361" y="225028"/>
                  </a:lnTo>
                  <a:lnTo>
                    <a:pt x="1781281" y="213519"/>
                  </a:lnTo>
                  <a:lnTo>
                    <a:pt x="1789202" y="201613"/>
                  </a:lnTo>
                  <a:lnTo>
                    <a:pt x="1797915" y="190500"/>
                  </a:lnTo>
                  <a:lnTo>
                    <a:pt x="1807023" y="179784"/>
                  </a:lnTo>
                  <a:lnTo>
                    <a:pt x="1816924" y="169069"/>
                  </a:lnTo>
                  <a:lnTo>
                    <a:pt x="1827221" y="159544"/>
                  </a:lnTo>
                  <a:lnTo>
                    <a:pt x="1812964" y="135334"/>
                  </a:lnTo>
                  <a:lnTo>
                    <a:pt x="1788410" y="75406"/>
                  </a:lnTo>
                  <a:lnTo>
                    <a:pt x="1868804" y="27781"/>
                  </a:lnTo>
                  <a:lnTo>
                    <a:pt x="1907219" y="76994"/>
                  </a:lnTo>
                  <a:lnTo>
                    <a:pt x="1923061" y="102791"/>
                  </a:lnTo>
                  <a:lnTo>
                    <a:pt x="1917516" y="105172"/>
                  </a:lnTo>
                  <a:lnTo>
                    <a:pt x="1912368" y="107156"/>
                  </a:lnTo>
                  <a:lnTo>
                    <a:pt x="1924249" y="102791"/>
                  </a:lnTo>
                  <a:lnTo>
                    <a:pt x="1935734" y="99219"/>
                  </a:lnTo>
                  <a:lnTo>
                    <a:pt x="1945239" y="96044"/>
                  </a:lnTo>
                  <a:lnTo>
                    <a:pt x="1961080" y="92869"/>
                  </a:lnTo>
                  <a:lnTo>
                    <a:pt x="1969001" y="91281"/>
                  </a:lnTo>
                  <a:lnTo>
                    <a:pt x="1977317" y="89694"/>
                  </a:lnTo>
                  <a:lnTo>
                    <a:pt x="1979297" y="89694"/>
                  </a:lnTo>
                  <a:lnTo>
                    <a:pt x="1994347" y="88106"/>
                  </a:lnTo>
                  <a:lnTo>
                    <a:pt x="2009792" y="87709"/>
                  </a:lnTo>
                  <a:lnTo>
                    <a:pt x="2013752" y="87709"/>
                  </a:lnTo>
                  <a:lnTo>
                    <a:pt x="2019693" y="87709"/>
                  </a:lnTo>
                  <a:lnTo>
                    <a:pt x="2031970" y="88503"/>
                  </a:lnTo>
                  <a:lnTo>
                    <a:pt x="2043455" y="89297"/>
                  </a:lnTo>
                  <a:lnTo>
                    <a:pt x="2034346" y="88503"/>
                  </a:lnTo>
                  <a:lnTo>
                    <a:pt x="2038306" y="72628"/>
                  </a:lnTo>
                  <a:lnTo>
                    <a:pt x="2066028" y="0"/>
                  </a:lnTo>
                  <a:close/>
                </a:path>
              </a:pathLst>
            </a:custGeom>
            <a:solidFill>
              <a:srgbClr val="94A3BB"/>
            </a:solidFill>
            <a:ln>
              <a:noFill/>
            </a:ln>
            <a:effectLst>
              <a:reflection blurRad="6350" stA="52000" endA="300" endPos="35000" dir="5400000" sy="-100000" algn="bl" rotWithShape="0"/>
            </a:effectLst>
          </p:spPr>
          <p:txBody>
            <a:bodyPr anchor="ctr">
              <a:scene3d>
                <a:camera prst="orthographicFront"/>
                <a:lightRig rig="threePt" dir="t"/>
              </a:scene3d>
              <a:sp3d contourW="12700">
                <a:contourClr>
                  <a:srgbClr val="FFFFFF"/>
                </a:contourClr>
              </a:sp3d>
            </a:bodyPr>
            <a:lstStyle/>
            <a:p>
              <a:pPr algn="ctr">
                <a:defRPr/>
              </a:pPr>
              <a:endParaRPr lang="zh-CN" altLang="en-US">
                <a:solidFill>
                  <a:srgbClr val="1C666E"/>
                </a:solidFill>
                <a:ea typeface="宋体" panose="02010600030101010101" pitchFamily="2" charset="-122"/>
              </a:endParaRPr>
            </a:p>
          </p:txBody>
        </p:sp>
      </p:grpSp>
      <p:sp>
        <p:nvSpPr>
          <p:cNvPr id="3" name="文本框 2"/>
          <p:cNvSpPr txBox="1"/>
          <p:nvPr/>
        </p:nvSpPr>
        <p:spPr>
          <a:xfrm>
            <a:off x="2010463" y="897043"/>
            <a:ext cx="47020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2800" b="1" dirty="0">
                <a:solidFill>
                  <a:srgbClr val="C0000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微软雅黑" pitchFamily="34" charset="-122"/>
                <a:ea typeface="微软雅黑" pitchFamily="34" charset="-122"/>
              </a:rPr>
              <a:t>打造</a:t>
            </a:r>
            <a:r>
              <a:rPr lang="zh-CN" altLang="en-US" sz="2800" b="1" dirty="0" smtClean="0">
                <a:solidFill>
                  <a:srgbClr val="C0000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微软雅黑" pitchFamily="34" charset="-122"/>
                <a:ea typeface="微软雅黑" pitchFamily="34" charset="-122"/>
              </a:rPr>
              <a:t>安全</a:t>
            </a:r>
            <a:r>
              <a:rPr lang="zh-CN" altLang="en-US" sz="2800" b="1" dirty="0">
                <a:solidFill>
                  <a:srgbClr val="C0000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微软雅黑" pitchFamily="34" charset="-122"/>
                <a:ea typeface="微软雅黑" pitchFamily="34" charset="-122"/>
              </a:rPr>
              <a:t>的</a:t>
            </a:r>
            <a:r>
              <a:rPr lang="zh-CN" altLang="en-US" sz="2800" b="1" dirty="0" smtClean="0">
                <a:solidFill>
                  <a:srgbClr val="C0000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微软雅黑" pitchFamily="34" charset="-122"/>
                <a:ea typeface="微软雅黑" pitchFamily="34" charset="-122"/>
              </a:rPr>
              <a:t>百</a:t>
            </a:r>
            <a:r>
              <a:rPr lang="zh-CN" altLang="en-US" sz="2800" b="1" dirty="0">
                <a:solidFill>
                  <a:srgbClr val="C0000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微软雅黑" pitchFamily="34" charset="-122"/>
                <a:ea typeface="微软雅黑" pitchFamily="34" charset="-122"/>
              </a:rPr>
              <a:t>胜</a:t>
            </a:r>
            <a:r>
              <a:rPr lang="zh-CN" altLang="en-US" sz="2800" b="1" dirty="0" smtClean="0">
                <a:solidFill>
                  <a:srgbClr val="C0000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微软雅黑" pitchFamily="34" charset="-122"/>
                <a:ea typeface="微软雅黑" pitchFamily="34" charset="-122"/>
              </a:rPr>
              <a:t>数字支付体系</a:t>
            </a:r>
          </a:p>
        </p:txBody>
      </p:sp>
      <p:grpSp>
        <p:nvGrpSpPr>
          <p:cNvPr id="13" name="组合 12"/>
          <p:cNvGrpSpPr/>
          <p:nvPr/>
        </p:nvGrpSpPr>
        <p:grpSpPr>
          <a:xfrm>
            <a:off x="6750896" y="771550"/>
            <a:ext cx="773432" cy="717870"/>
            <a:chOff x="6589231" y="753150"/>
            <a:chExt cx="773432" cy="717870"/>
          </a:xfrm>
        </p:grpSpPr>
        <p:grpSp>
          <p:nvGrpSpPr>
            <p:cNvPr id="23" name="组合 22"/>
            <p:cNvGrpSpPr/>
            <p:nvPr/>
          </p:nvGrpSpPr>
          <p:grpSpPr>
            <a:xfrm>
              <a:off x="6589231" y="753150"/>
              <a:ext cx="773432" cy="717870"/>
              <a:chOff x="16240882" y="6330556"/>
              <a:chExt cx="2416022" cy="2416022"/>
            </a:xfrm>
          </p:grpSpPr>
          <p:sp>
            <p:nvSpPr>
              <p:cNvPr id="24" name="Shape 3347"/>
              <p:cNvSpPr/>
              <p:nvPr/>
            </p:nvSpPr>
            <p:spPr>
              <a:xfrm>
                <a:off x="16480410" y="6574187"/>
                <a:ext cx="1928760" cy="192876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C00002"/>
              </a:solidFill>
              <a:ln w="12700">
                <a:miter lim="400000"/>
              </a:ln>
            </p:spPr>
            <p:txBody>
              <a:bodyPr lIns="0" tIns="0" rIns="0" bIns="0" anchor="ctr"/>
              <a:lstStyle>
                <a:defPPr>
                  <a:defRPr lang="zh-CN"/>
                </a:defPPr>
                <a:lvl1pPr marL="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5659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1318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96977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62636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28295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40175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596765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253355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 sz="3200"/>
                </a:pPr>
                <a:endParaRPr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5" name="Shape 3366"/>
              <p:cNvSpPr/>
              <p:nvPr/>
            </p:nvSpPr>
            <p:spPr>
              <a:xfrm>
                <a:off x="16240882" y="6330556"/>
                <a:ext cx="2416022" cy="24160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ln w="25400">
                <a:solidFill>
                  <a:schemeClr val="accent4"/>
                </a:solidFill>
                <a:miter lim="400000"/>
              </a:ln>
            </p:spPr>
            <p:txBody>
              <a:bodyPr lIns="0" tIns="0" rIns="0" bIns="0" anchor="ctr"/>
              <a:lstStyle>
                <a:defPPr>
                  <a:defRPr lang="zh-CN"/>
                </a:defPPr>
                <a:lvl1pPr marL="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5659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1318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96977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62636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28295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40175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596765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253355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 sz="3200"/>
                </a:pPr>
                <a:endParaRPr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6" name="文本框 25"/>
            <p:cNvSpPr txBox="1"/>
            <p:nvPr/>
          </p:nvSpPr>
          <p:spPr>
            <a:xfrm>
              <a:off x="6851309" y="971201"/>
              <a:ext cx="432048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sz="1050" b="1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百胜</a:t>
              </a:r>
              <a:endParaRPr lang="en-US" altLang="zh-CN" sz="105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05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特色</a:t>
              </a:r>
              <a:endParaRPr lang="en-US" altLang="zh-CN" sz="105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1061257" y="771550"/>
            <a:ext cx="773432" cy="717870"/>
            <a:chOff x="899592" y="764546"/>
            <a:chExt cx="773432" cy="717870"/>
          </a:xfrm>
        </p:grpSpPr>
        <p:grpSp>
          <p:nvGrpSpPr>
            <p:cNvPr id="30" name="组合 29"/>
            <p:cNvGrpSpPr/>
            <p:nvPr/>
          </p:nvGrpSpPr>
          <p:grpSpPr>
            <a:xfrm>
              <a:off x="899592" y="764546"/>
              <a:ext cx="773432" cy="717870"/>
              <a:chOff x="16240882" y="6330556"/>
              <a:chExt cx="2416022" cy="2416022"/>
            </a:xfrm>
          </p:grpSpPr>
          <p:sp>
            <p:nvSpPr>
              <p:cNvPr id="32" name="Shape 3347"/>
              <p:cNvSpPr/>
              <p:nvPr/>
            </p:nvSpPr>
            <p:spPr>
              <a:xfrm>
                <a:off x="16480410" y="6574187"/>
                <a:ext cx="1928760" cy="192876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C00002"/>
              </a:solidFill>
              <a:ln w="12700">
                <a:miter lim="400000"/>
              </a:ln>
            </p:spPr>
            <p:txBody>
              <a:bodyPr lIns="0" tIns="0" rIns="0" bIns="0" anchor="ctr"/>
              <a:lstStyle>
                <a:defPPr>
                  <a:defRPr lang="zh-CN"/>
                </a:defPPr>
                <a:lvl1pPr marL="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5659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1318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96977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62636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28295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40175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596765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253355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 sz="3200"/>
                </a:pPr>
                <a:endParaRPr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3" name="Shape 3366"/>
              <p:cNvSpPr/>
              <p:nvPr/>
            </p:nvSpPr>
            <p:spPr>
              <a:xfrm>
                <a:off x="16240882" y="6330556"/>
                <a:ext cx="2416022" cy="24160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ln w="25400">
                <a:solidFill>
                  <a:schemeClr val="accent4"/>
                </a:solidFill>
                <a:miter lim="400000"/>
              </a:ln>
            </p:spPr>
            <p:txBody>
              <a:bodyPr lIns="0" tIns="0" rIns="0" bIns="0" anchor="ctr"/>
              <a:lstStyle>
                <a:defPPr>
                  <a:defRPr lang="zh-CN"/>
                </a:defPPr>
                <a:lvl1pPr marL="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5659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31318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96977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62636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282950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40175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596765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253355" algn="l" defTabSz="1313180" rtl="0" eaLnBrk="1" latinLnBrk="0" hangingPunct="1">
                  <a:defRPr sz="2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 sz="3200"/>
                </a:pPr>
                <a:endParaRPr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4" name="文本框 33"/>
            <p:cNvSpPr txBox="1"/>
            <p:nvPr/>
          </p:nvSpPr>
          <p:spPr>
            <a:xfrm>
              <a:off x="1148707" y="958929"/>
              <a:ext cx="397270" cy="3291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sz="1050" b="1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行业</a:t>
              </a:r>
              <a:endParaRPr lang="en-US" altLang="zh-CN" sz="105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050" b="1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标准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164211" y="2355138"/>
            <a:ext cx="5548345" cy="458086"/>
            <a:chOff x="930372" y="2399671"/>
            <a:chExt cx="5358981" cy="458086"/>
          </a:xfrm>
        </p:grpSpPr>
        <p:sp>
          <p:nvSpPr>
            <p:cNvPr id="44" name="Freeform 37"/>
            <p:cNvSpPr>
              <a:spLocks noEditPoints="1"/>
            </p:cNvSpPr>
            <p:nvPr/>
          </p:nvSpPr>
          <p:spPr bwMode="auto">
            <a:xfrm>
              <a:off x="930372" y="2456809"/>
              <a:ext cx="261768" cy="343811"/>
            </a:xfrm>
            <a:custGeom>
              <a:avLst/>
              <a:gdLst>
                <a:gd name="T0" fmla="*/ 38 w 566"/>
                <a:gd name="T1" fmla="*/ 38 h 613"/>
                <a:gd name="T2" fmla="*/ 151 w 566"/>
                <a:gd name="T3" fmla="*/ 37 h 613"/>
                <a:gd name="T4" fmla="*/ 271 w 566"/>
                <a:gd name="T5" fmla="*/ 5 h 613"/>
                <a:gd name="T6" fmla="*/ 283 w 566"/>
                <a:gd name="T7" fmla="*/ 0 h 613"/>
                <a:gd name="T8" fmla="*/ 294 w 566"/>
                <a:gd name="T9" fmla="*/ 5 h 613"/>
                <a:gd name="T10" fmla="*/ 415 w 566"/>
                <a:gd name="T11" fmla="*/ 37 h 613"/>
                <a:gd name="T12" fmla="*/ 528 w 566"/>
                <a:gd name="T13" fmla="*/ 38 h 613"/>
                <a:gd name="T14" fmla="*/ 566 w 566"/>
                <a:gd name="T15" fmla="*/ 33 h 613"/>
                <a:gd name="T16" fmla="*/ 566 w 566"/>
                <a:gd name="T17" fmla="*/ 77 h 613"/>
                <a:gd name="T18" fmla="*/ 486 w 566"/>
                <a:gd name="T19" fmla="*/ 464 h 613"/>
                <a:gd name="T20" fmla="*/ 291 w 566"/>
                <a:gd name="T21" fmla="*/ 611 h 613"/>
                <a:gd name="T22" fmla="*/ 283 w 566"/>
                <a:gd name="T23" fmla="*/ 613 h 613"/>
                <a:gd name="T24" fmla="*/ 275 w 566"/>
                <a:gd name="T25" fmla="*/ 611 h 613"/>
                <a:gd name="T26" fmla="*/ 80 w 566"/>
                <a:gd name="T27" fmla="*/ 464 h 613"/>
                <a:gd name="T28" fmla="*/ 0 w 566"/>
                <a:gd name="T29" fmla="*/ 77 h 613"/>
                <a:gd name="T30" fmla="*/ 0 w 566"/>
                <a:gd name="T31" fmla="*/ 33 h 613"/>
                <a:gd name="T32" fmla="*/ 38 w 566"/>
                <a:gd name="T33" fmla="*/ 38 h 613"/>
                <a:gd name="T34" fmla="*/ 283 w 566"/>
                <a:gd name="T35" fmla="*/ 312 h 613"/>
                <a:gd name="T36" fmla="*/ 283 w 566"/>
                <a:gd name="T37" fmla="*/ 312 h 613"/>
                <a:gd name="T38" fmla="*/ 472 w 566"/>
                <a:gd name="T39" fmla="*/ 312 h 613"/>
                <a:gd name="T40" fmla="*/ 496 w 566"/>
                <a:gd name="T41" fmla="*/ 117 h 613"/>
                <a:gd name="T42" fmla="*/ 407 w 566"/>
                <a:gd name="T43" fmla="*/ 113 h 613"/>
                <a:gd name="T44" fmla="*/ 283 w 566"/>
                <a:gd name="T45" fmla="*/ 81 h 613"/>
                <a:gd name="T46" fmla="*/ 283 w 566"/>
                <a:gd name="T47" fmla="*/ 312 h 613"/>
                <a:gd name="T48" fmla="*/ 283 w 566"/>
                <a:gd name="T49" fmla="*/ 535 h 613"/>
                <a:gd name="T50" fmla="*/ 283 w 566"/>
                <a:gd name="T51" fmla="*/ 535 h 613"/>
                <a:gd name="T52" fmla="*/ 283 w 566"/>
                <a:gd name="T53" fmla="*/ 312 h 613"/>
                <a:gd name="T54" fmla="*/ 94 w 566"/>
                <a:gd name="T55" fmla="*/ 312 h 613"/>
                <a:gd name="T56" fmla="*/ 137 w 566"/>
                <a:gd name="T57" fmla="*/ 423 h 613"/>
                <a:gd name="T58" fmla="*/ 283 w 566"/>
                <a:gd name="T59" fmla="*/ 535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6" h="613">
                  <a:moveTo>
                    <a:pt x="38" y="38"/>
                  </a:moveTo>
                  <a:cubicBezTo>
                    <a:pt x="74" y="43"/>
                    <a:pt x="112" y="42"/>
                    <a:pt x="151" y="37"/>
                  </a:cubicBezTo>
                  <a:cubicBezTo>
                    <a:pt x="190" y="32"/>
                    <a:pt x="230" y="21"/>
                    <a:pt x="271" y="5"/>
                  </a:cubicBezTo>
                  <a:lnTo>
                    <a:pt x="283" y="0"/>
                  </a:lnTo>
                  <a:lnTo>
                    <a:pt x="294" y="5"/>
                  </a:lnTo>
                  <a:cubicBezTo>
                    <a:pt x="336" y="21"/>
                    <a:pt x="376" y="32"/>
                    <a:pt x="415" y="37"/>
                  </a:cubicBezTo>
                  <a:cubicBezTo>
                    <a:pt x="454" y="42"/>
                    <a:pt x="491" y="43"/>
                    <a:pt x="528" y="38"/>
                  </a:cubicBezTo>
                  <a:lnTo>
                    <a:pt x="566" y="33"/>
                  </a:lnTo>
                  <a:lnTo>
                    <a:pt x="566" y="77"/>
                  </a:lnTo>
                  <a:cubicBezTo>
                    <a:pt x="564" y="260"/>
                    <a:pt x="534" y="382"/>
                    <a:pt x="486" y="464"/>
                  </a:cubicBezTo>
                  <a:cubicBezTo>
                    <a:pt x="436" y="550"/>
                    <a:pt x="368" y="591"/>
                    <a:pt x="291" y="611"/>
                  </a:cubicBezTo>
                  <a:lnTo>
                    <a:pt x="283" y="613"/>
                  </a:lnTo>
                  <a:lnTo>
                    <a:pt x="275" y="611"/>
                  </a:lnTo>
                  <a:cubicBezTo>
                    <a:pt x="198" y="591"/>
                    <a:pt x="130" y="550"/>
                    <a:pt x="80" y="464"/>
                  </a:cubicBezTo>
                  <a:cubicBezTo>
                    <a:pt x="32" y="382"/>
                    <a:pt x="2" y="260"/>
                    <a:pt x="0" y="77"/>
                  </a:cubicBezTo>
                  <a:lnTo>
                    <a:pt x="0" y="33"/>
                  </a:lnTo>
                  <a:lnTo>
                    <a:pt x="38" y="38"/>
                  </a:lnTo>
                  <a:close/>
                  <a:moveTo>
                    <a:pt x="283" y="312"/>
                  </a:moveTo>
                  <a:lnTo>
                    <a:pt x="283" y="312"/>
                  </a:lnTo>
                  <a:lnTo>
                    <a:pt x="472" y="312"/>
                  </a:lnTo>
                  <a:cubicBezTo>
                    <a:pt x="485" y="259"/>
                    <a:pt x="493" y="195"/>
                    <a:pt x="496" y="117"/>
                  </a:cubicBezTo>
                  <a:cubicBezTo>
                    <a:pt x="467" y="119"/>
                    <a:pt x="437" y="117"/>
                    <a:pt x="407" y="113"/>
                  </a:cubicBezTo>
                  <a:cubicBezTo>
                    <a:pt x="367" y="108"/>
                    <a:pt x="325" y="97"/>
                    <a:pt x="283" y="81"/>
                  </a:cubicBezTo>
                  <a:lnTo>
                    <a:pt x="283" y="312"/>
                  </a:lnTo>
                  <a:close/>
                  <a:moveTo>
                    <a:pt x="283" y="535"/>
                  </a:moveTo>
                  <a:lnTo>
                    <a:pt x="283" y="535"/>
                  </a:lnTo>
                  <a:lnTo>
                    <a:pt x="283" y="312"/>
                  </a:lnTo>
                  <a:lnTo>
                    <a:pt x="94" y="312"/>
                  </a:lnTo>
                  <a:cubicBezTo>
                    <a:pt x="105" y="357"/>
                    <a:pt x="120" y="393"/>
                    <a:pt x="137" y="423"/>
                  </a:cubicBezTo>
                  <a:cubicBezTo>
                    <a:pt x="174" y="486"/>
                    <a:pt x="225" y="518"/>
                    <a:pt x="283" y="5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34" tIns="45717" rIns="91434" bIns="45717" numCol="1" anchor="t" anchorCtr="0" compatLnSpc="1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170" algn="l" rtl="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339" algn="l" rtl="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509" algn="l" rtl="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678" algn="l" rtl="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5848" algn="l" defTabSz="914339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016" algn="l" defTabSz="914339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187" algn="l" defTabSz="914339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355" algn="l" defTabSz="914339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1570112" y="2505604"/>
              <a:ext cx="4719241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kumimoji="1" lang="zh-CN" altLang="en-US" sz="1600" b="1" dirty="0" smtClean="0">
                  <a:ea typeface="微软雅黑" panose="020B0503020204020204" pitchFamily="34" charset="-122"/>
                </a:rPr>
                <a:t>增强退</a:t>
              </a:r>
              <a:r>
                <a:rPr kumimoji="1" lang="zh-CN" altLang="en-US" sz="1600" b="1" dirty="0">
                  <a:ea typeface="微软雅黑" panose="020B0503020204020204" pitchFamily="34" charset="-122"/>
                </a:rPr>
                <a:t>款风控策略，实时监控异</a:t>
              </a:r>
              <a:r>
                <a:rPr kumimoji="1" lang="zh-CN" altLang="en-US" sz="1600" b="1" dirty="0" smtClean="0">
                  <a:ea typeface="微软雅黑" panose="020B0503020204020204" pitchFamily="34" charset="-122"/>
                </a:rPr>
                <a:t>常支付订单</a:t>
              </a:r>
              <a:r>
                <a:rPr kumimoji="1" lang="zh-CN" altLang="en-US" sz="1600" b="1" dirty="0">
                  <a:ea typeface="微软雅黑" panose="020B0503020204020204" pitchFamily="34" charset="-122"/>
                </a:rPr>
                <a:t>及时</a:t>
              </a:r>
              <a:r>
                <a:rPr kumimoji="1" lang="zh-CN" altLang="en-US" sz="1600" b="1" dirty="0" smtClean="0">
                  <a:ea typeface="微软雅黑" panose="020B0503020204020204" pitchFamily="34" charset="-122"/>
                </a:rPr>
                <a:t>告警</a:t>
              </a:r>
              <a:endParaRPr kumimoji="1" lang="en-US" altLang="zh-CN" sz="1600" b="1" dirty="0">
                <a:ea typeface="微软雅黑" panose="020B0503020204020204" pitchFamily="34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1395844" y="2399671"/>
              <a:ext cx="4814525" cy="458086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1106153" y="4324200"/>
            <a:ext cx="5512403" cy="458086"/>
            <a:chOff x="884538" y="3694639"/>
            <a:chExt cx="5325831" cy="458086"/>
          </a:xfrm>
        </p:grpSpPr>
        <p:sp>
          <p:nvSpPr>
            <p:cNvPr id="39" name="Freeform 118"/>
            <p:cNvSpPr>
              <a:spLocks noEditPoints="1"/>
            </p:cNvSpPr>
            <p:nvPr/>
          </p:nvSpPr>
          <p:spPr bwMode="auto">
            <a:xfrm>
              <a:off x="884538" y="3751708"/>
              <a:ext cx="353436" cy="343948"/>
            </a:xfrm>
            <a:custGeom>
              <a:avLst/>
              <a:gdLst/>
              <a:ahLst/>
              <a:cxnLst>
                <a:cxn ang="0">
                  <a:pos x="53" y="58"/>
                </a:cxn>
                <a:cxn ang="0">
                  <a:pos x="31" y="67"/>
                </a:cxn>
                <a:cxn ang="0">
                  <a:pos x="0" y="36"/>
                </a:cxn>
                <a:cxn ang="0">
                  <a:pos x="31" y="5"/>
                </a:cxn>
                <a:cxn ang="0">
                  <a:pos x="31" y="36"/>
                </a:cxn>
                <a:cxn ang="0">
                  <a:pos x="53" y="58"/>
                </a:cxn>
                <a:cxn ang="0">
                  <a:pos x="36" y="31"/>
                </a:cxn>
                <a:cxn ang="0">
                  <a:pos x="36" y="0"/>
                </a:cxn>
                <a:cxn ang="0">
                  <a:pos x="67" y="31"/>
                </a:cxn>
                <a:cxn ang="0">
                  <a:pos x="36" y="31"/>
                </a:cxn>
                <a:cxn ang="0">
                  <a:pos x="69" y="36"/>
                </a:cxn>
                <a:cxn ang="0">
                  <a:pos x="60" y="58"/>
                </a:cxn>
                <a:cxn ang="0">
                  <a:pos x="38" y="36"/>
                </a:cxn>
                <a:cxn ang="0">
                  <a:pos x="69" y="36"/>
                </a:cxn>
              </a:cxnLst>
              <a:rect l="0" t="0" r="r" b="b"/>
              <a:pathLst>
                <a:path w="69" h="67">
                  <a:moveTo>
                    <a:pt x="53" y="58"/>
                  </a:moveTo>
                  <a:cubicBezTo>
                    <a:pt x="47" y="64"/>
                    <a:pt x="39" y="67"/>
                    <a:pt x="31" y="67"/>
                  </a:cubicBezTo>
                  <a:cubicBezTo>
                    <a:pt x="14" y="67"/>
                    <a:pt x="0" y="53"/>
                    <a:pt x="0" y="36"/>
                  </a:cubicBezTo>
                  <a:cubicBezTo>
                    <a:pt x="0" y="19"/>
                    <a:pt x="14" y="5"/>
                    <a:pt x="31" y="5"/>
                  </a:cubicBezTo>
                  <a:cubicBezTo>
                    <a:pt x="31" y="36"/>
                    <a:pt x="31" y="36"/>
                    <a:pt x="31" y="36"/>
                  </a:cubicBezTo>
                  <a:lnTo>
                    <a:pt x="53" y="58"/>
                  </a:lnTo>
                  <a:close/>
                  <a:moveTo>
                    <a:pt x="36" y="31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53" y="0"/>
                    <a:pt x="67" y="14"/>
                    <a:pt x="67" y="31"/>
                  </a:cubicBezTo>
                  <a:lnTo>
                    <a:pt x="36" y="31"/>
                  </a:lnTo>
                  <a:close/>
                  <a:moveTo>
                    <a:pt x="69" y="36"/>
                  </a:moveTo>
                  <a:cubicBezTo>
                    <a:pt x="69" y="45"/>
                    <a:pt x="66" y="53"/>
                    <a:pt x="60" y="58"/>
                  </a:cubicBezTo>
                  <a:cubicBezTo>
                    <a:pt x="38" y="36"/>
                    <a:pt x="38" y="36"/>
                    <a:pt x="38" y="36"/>
                  </a:cubicBezTo>
                  <a:lnTo>
                    <a:pt x="69" y="3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/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1395844" y="3694639"/>
              <a:ext cx="4814525" cy="458086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1570112" y="3800572"/>
              <a:ext cx="348813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kumimoji="1" lang="zh-CN" altLang="en-US" sz="1600" b="1" dirty="0" smtClean="0">
                  <a:ea typeface="微软雅黑" panose="020B0503020204020204" pitchFamily="34" charset="-122"/>
                </a:rPr>
                <a:t>统一规划管理线上线下全渠道支付数据</a:t>
              </a:r>
              <a:endParaRPr kumimoji="1" lang="en-US" altLang="zh-CN" sz="1600" b="1" dirty="0">
                <a:ea typeface="微软雅黑" panose="020B0503020204020204" pitchFamily="34" charset="-122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121887" y="3651870"/>
            <a:ext cx="5520057" cy="458086"/>
            <a:chOff x="876885" y="3047155"/>
            <a:chExt cx="5333484" cy="458086"/>
          </a:xfrm>
        </p:grpSpPr>
        <p:sp>
          <p:nvSpPr>
            <p:cNvPr id="43" name="Freeform 983"/>
            <p:cNvSpPr>
              <a:spLocks noEditPoints="1"/>
            </p:cNvSpPr>
            <p:nvPr/>
          </p:nvSpPr>
          <p:spPr bwMode="auto">
            <a:xfrm>
              <a:off x="876885" y="3087099"/>
              <a:ext cx="368742" cy="378198"/>
            </a:xfrm>
            <a:custGeom>
              <a:avLst/>
              <a:gdLst>
                <a:gd name="T0" fmla="*/ 116 w 232"/>
                <a:gd name="T1" fmla="*/ 88 h 239"/>
                <a:gd name="T2" fmla="*/ 84 w 232"/>
                <a:gd name="T3" fmla="*/ 119 h 239"/>
                <a:gd name="T4" fmla="*/ 116 w 232"/>
                <a:gd name="T5" fmla="*/ 151 h 239"/>
                <a:gd name="T6" fmla="*/ 148 w 232"/>
                <a:gd name="T7" fmla="*/ 119 h 239"/>
                <a:gd name="T8" fmla="*/ 116 w 232"/>
                <a:gd name="T9" fmla="*/ 88 h 239"/>
                <a:gd name="T10" fmla="*/ 49 w 232"/>
                <a:gd name="T11" fmla="*/ 197 h 239"/>
                <a:gd name="T12" fmla="*/ 44 w 232"/>
                <a:gd name="T13" fmla="*/ 191 h 239"/>
                <a:gd name="T14" fmla="*/ 14 w 232"/>
                <a:gd name="T15" fmla="*/ 119 h 239"/>
                <a:gd name="T16" fmla="*/ 93 w 232"/>
                <a:gd name="T17" fmla="*/ 20 h 239"/>
                <a:gd name="T18" fmla="*/ 90 w 232"/>
                <a:gd name="T19" fmla="*/ 7 h 239"/>
                <a:gd name="T20" fmla="*/ 0 w 232"/>
                <a:gd name="T21" fmla="*/ 119 h 239"/>
                <a:gd name="T22" fmla="*/ 34 w 232"/>
                <a:gd name="T23" fmla="*/ 201 h 239"/>
                <a:gd name="T24" fmla="*/ 44 w 232"/>
                <a:gd name="T25" fmla="*/ 210 h 239"/>
                <a:gd name="T26" fmla="*/ 34 w 232"/>
                <a:gd name="T27" fmla="*/ 239 h 239"/>
                <a:gd name="T28" fmla="*/ 116 w 232"/>
                <a:gd name="T29" fmla="*/ 228 h 239"/>
                <a:gd name="T30" fmla="*/ 60 w 232"/>
                <a:gd name="T31" fmla="*/ 167 h 239"/>
                <a:gd name="T32" fmla="*/ 49 w 232"/>
                <a:gd name="T33" fmla="*/ 197 h 239"/>
                <a:gd name="T34" fmla="*/ 188 w 232"/>
                <a:gd name="T35" fmla="*/ 29 h 239"/>
                <a:gd name="T36" fmla="*/ 198 w 232"/>
                <a:gd name="T37" fmla="*/ 0 h 239"/>
                <a:gd name="T38" fmla="*/ 116 w 232"/>
                <a:gd name="T39" fmla="*/ 10 h 239"/>
                <a:gd name="T40" fmla="*/ 172 w 232"/>
                <a:gd name="T41" fmla="*/ 72 h 239"/>
                <a:gd name="T42" fmla="*/ 183 w 232"/>
                <a:gd name="T43" fmla="*/ 42 h 239"/>
                <a:gd name="T44" fmla="*/ 218 w 232"/>
                <a:gd name="T45" fmla="*/ 119 h 239"/>
                <a:gd name="T46" fmla="*/ 188 w 232"/>
                <a:gd name="T47" fmla="*/ 191 h 239"/>
                <a:gd name="T48" fmla="*/ 139 w 232"/>
                <a:gd name="T49" fmla="*/ 219 h 239"/>
                <a:gd name="T50" fmla="*/ 142 w 232"/>
                <a:gd name="T51" fmla="*/ 232 h 239"/>
                <a:gd name="T52" fmla="*/ 198 w 232"/>
                <a:gd name="T53" fmla="*/ 201 h 239"/>
                <a:gd name="T54" fmla="*/ 232 w 232"/>
                <a:gd name="T55" fmla="*/ 119 h 239"/>
                <a:gd name="T56" fmla="*/ 188 w 232"/>
                <a:gd name="T57" fmla="*/ 2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2" h="239">
                  <a:moveTo>
                    <a:pt x="116" y="88"/>
                  </a:moveTo>
                  <a:cubicBezTo>
                    <a:pt x="98" y="88"/>
                    <a:pt x="84" y="102"/>
                    <a:pt x="84" y="119"/>
                  </a:cubicBezTo>
                  <a:cubicBezTo>
                    <a:pt x="84" y="137"/>
                    <a:pt x="98" y="151"/>
                    <a:pt x="116" y="151"/>
                  </a:cubicBezTo>
                  <a:cubicBezTo>
                    <a:pt x="134" y="151"/>
                    <a:pt x="148" y="137"/>
                    <a:pt x="148" y="119"/>
                  </a:cubicBezTo>
                  <a:cubicBezTo>
                    <a:pt x="148" y="102"/>
                    <a:pt x="134" y="88"/>
                    <a:pt x="116" y="88"/>
                  </a:cubicBezTo>
                  <a:close/>
                  <a:moveTo>
                    <a:pt x="49" y="197"/>
                  </a:moveTo>
                  <a:cubicBezTo>
                    <a:pt x="47" y="195"/>
                    <a:pt x="46" y="193"/>
                    <a:pt x="44" y="191"/>
                  </a:cubicBezTo>
                  <a:cubicBezTo>
                    <a:pt x="25" y="172"/>
                    <a:pt x="14" y="147"/>
                    <a:pt x="14" y="119"/>
                  </a:cubicBezTo>
                  <a:cubicBezTo>
                    <a:pt x="14" y="71"/>
                    <a:pt x="48" y="30"/>
                    <a:pt x="93" y="20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39" y="19"/>
                    <a:pt x="0" y="65"/>
                    <a:pt x="0" y="119"/>
                  </a:cubicBezTo>
                  <a:cubicBezTo>
                    <a:pt x="0" y="150"/>
                    <a:pt x="12" y="179"/>
                    <a:pt x="34" y="201"/>
                  </a:cubicBezTo>
                  <a:cubicBezTo>
                    <a:pt x="37" y="204"/>
                    <a:pt x="41" y="207"/>
                    <a:pt x="44" y="210"/>
                  </a:cubicBezTo>
                  <a:cubicBezTo>
                    <a:pt x="34" y="239"/>
                    <a:pt x="34" y="239"/>
                    <a:pt x="34" y="239"/>
                  </a:cubicBezTo>
                  <a:cubicBezTo>
                    <a:pt x="116" y="228"/>
                    <a:pt x="116" y="228"/>
                    <a:pt x="116" y="228"/>
                  </a:cubicBezTo>
                  <a:cubicBezTo>
                    <a:pt x="60" y="167"/>
                    <a:pt x="60" y="167"/>
                    <a:pt x="60" y="167"/>
                  </a:cubicBezTo>
                  <a:lnTo>
                    <a:pt x="49" y="197"/>
                  </a:lnTo>
                  <a:close/>
                  <a:moveTo>
                    <a:pt x="188" y="29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16" y="10"/>
                    <a:pt x="116" y="10"/>
                    <a:pt x="116" y="10"/>
                  </a:cubicBezTo>
                  <a:cubicBezTo>
                    <a:pt x="172" y="72"/>
                    <a:pt x="172" y="72"/>
                    <a:pt x="172" y="72"/>
                  </a:cubicBezTo>
                  <a:cubicBezTo>
                    <a:pt x="183" y="42"/>
                    <a:pt x="183" y="42"/>
                    <a:pt x="183" y="42"/>
                  </a:cubicBezTo>
                  <a:cubicBezTo>
                    <a:pt x="204" y="61"/>
                    <a:pt x="218" y="89"/>
                    <a:pt x="218" y="119"/>
                  </a:cubicBezTo>
                  <a:cubicBezTo>
                    <a:pt x="218" y="147"/>
                    <a:pt x="207" y="172"/>
                    <a:pt x="188" y="191"/>
                  </a:cubicBezTo>
                  <a:cubicBezTo>
                    <a:pt x="174" y="205"/>
                    <a:pt x="157" y="214"/>
                    <a:pt x="139" y="219"/>
                  </a:cubicBezTo>
                  <a:cubicBezTo>
                    <a:pt x="142" y="232"/>
                    <a:pt x="142" y="232"/>
                    <a:pt x="142" y="232"/>
                  </a:cubicBezTo>
                  <a:cubicBezTo>
                    <a:pt x="163" y="227"/>
                    <a:pt x="182" y="217"/>
                    <a:pt x="198" y="201"/>
                  </a:cubicBezTo>
                  <a:cubicBezTo>
                    <a:pt x="220" y="179"/>
                    <a:pt x="232" y="150"/>
                    <a:pt x="232" y="119"/>
                  </a:cubicBezTo>
                  <a:cubicBezTo>
                    <a:pt x="232" y="83"/>
                    <a:pt x="214" y="50"/>
                    <a:pt x="188" y="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13">
                <a:solidFill>
                  <a:prstClr val="black"/>
                </a:solidFill>
              </a:endParaRP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1570112" y="3153088"/>
              <a:ext cx="416323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kumimoji="1" lang="zh-CN" altLang="en-US" sz="1600" b="1" dirty="0" smtClean="0">
                  <a:ea typeface="微软雅黑" panose="020B0503020204020204" pitchFamily="34" charset="-122"/>
                </a:rPr>
                <a:t>提供准确的支付握手数据，协同完成“业财信”</a:t>
              </a:r>
              <a:endParaRPr kumimoji="1" lang="en-US" altLang="zh-CN" sz="1600" b="1" dirty="0">
                <a:ea typeface="微软雅黑" panose="020B0503020204020204" pitchFamily="34" charset="-122"/>
              </a:endParaRP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1395844" y="3047155"/>
              <a:ext cx="4814525" cy="458086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099133" y="1707654"/>
            <a:ext cx="5531648" cy="458086"/>
            <a:chOff x="865294" y="1752187"/>
            <a:chExt cx="5345075" cy="458086"/>
          </a:xfrm>
        </p:grpSpPr>
        <p:sp>
          <p:nvSpPr>
            <p:cNvPr id="12" name="圆角矩形 11"/>
            <p:cNvSpPr/>
            <p:nvPr/>
          </p:nvSpPr>
          <p:spPr>
            <a:xfrm>
              <a:off x="1395844" y="1752187"/>
              <a:ext cx="4814525" cy="458086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1570112" y="1858120"/>
              <a:ext cx="266739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kumimoji="1" lang="zh-CN" altLang="en-US" sz="1600" b="1" dirty="0" smtClean="0">
                  <a:ea typeface="微软雅黑" panose="020B0503020204020204" pitchFamily="34" charset="-122"/>
                </a:rPr>
                <a:t>构建正向支付标准和支付模型</a:t>
              </a:r>
              <a:endParaRPr kumimoji="1" lang="en-US" altLang="zh-CN" sz="1600" b="1" dirty="0">
                <a:ea typeface="微软雅黑" panose="020B0503020204020204" pitchFamily="34" charset="-122"/>
              </a:endParaRPr>
            </a:p>
          </p:txBody>
        </p:sp>
        <p:sp>
          <p:nvSpPr>
            <p:cNvPr id="46" name="Shape 3408"/>
            <p:cNvSpPr/>
            <p:nvPr/>
          </p:nvSpPr>
          <p:spPr>
            <a:xfrm>
              <a:off x="865294" y="1823111"/>
              <a:ext cx="391925" cy="3162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942" h="21600" extrusionOk="0">
                  <a:moveTo>
                    <a:pt x="10553" y="0"/>
                  </a:moveTo>
                  <a:cubicBezTo>
                    <a:pt x="9652" y="0"/>
                    <a:pt x="8808" y="510"/>
                    <a:pt x="8170" y="1424"/>
                  </a:cubicBezTo>
                  <a:cubicBezTo>
                    <a:pt x="7533" y="2339"/>
                    <a:pt x="7183" y="3552"/>
                    <a:pt x="7183" y="4845"/>
                  </a:cubicBezTo>
                  <a:cubicBezTo>
                    <a:pt x="7183" y="5893"/>
                    <a:pt x="7420" y="6881"/>
                    <a:pt x="7846" y="7708"/>
                  </a:cubicBezTo>
                  <a:lnTo>
                    <a:pt x="5259" y="12747"/>
                  </a:lnTo>
                  <a:cubicBezTo>
                    <a:pt x="4706" y="12208"/>
                    <a:pt x="4057" y="11909"/>
                    <a:pt x="3374" y="11909"/>
                  </a:cubicBezTo>
                  <a:cubicBezTo>
                    <a:pt x="2473" y="11909"/>
                    <a:pt x="1624" y="12418"/>
                    <a:pt x="986" y="13334"/>
                  </a:cubicBezTo>
                  <a:cubicBezTo>
                    <a:pt x="-329" y="15221"/>
                    <a:pt x="-329" y="18295"/>
                    <a:pt x="986" y="20183"/>
                  </a:cubicBezTo>
                  <a:cubicBezTo>
                    <a:pt x="1624" y="21098"/>
                    <a:pt x="2473" y="21600"/>
                    <a:pt x="3374" y="21600"/>
                  </a:cubicBezTo>
                  <a:cubicBezTo>
                    <a:pt x="4275" y="21600"/>
                    <a:pt x="5120" y="21098"/>
                    <a:pt x="5757" y="20183"/>
                  </a:cubicBezTo>
                  <a:cubicBezTo>
                    <a:pt x="6927" y="18504"/>
                    <a:pt x="7052" y="15893"/>
                    <a:pt x="6141" y="14006"/>
                  </a:cubicBezTo>
                  <a:lnTo>
                    <a:pt x="8749" y="8925"/>
                  </a:lnTo>
                  <a:cubicBezTo>
                    <a:pt x="9284" y="9415"/>
                    <a:pt x="9903" y="9691"/>
                    <a:pt x="10553" y="9691"/>
                  </a:cubicBezTo>
                  <a:cubicBezTo>
                    <a:pt x="11177" y="9691"/>
                    <a:pt x="11768" y="9427"/>
                    <a:pt x="12288" y="8975"/>
                  </a:cubicBezTo>
                  <a:lnTo>
                    <a:pt x="14841" y="13942"/>
                  </a:lnTo>
                  <a:cubicBezTo>
                    <a:pt x="13895" y="15833"/>
                    <a:pt x="14002" y="18484"/>
                    <a:pt x="15185" y="20183"/>
                  </a:cubicBezTo>
                  <a:cubicBezTo>
                    <a:pt x="15822" y="21098"/>
                    <a:pt x="16672" y="21600"/>
                    <a:pt x="17573" y="21600"/>
                  </a:cubicBezTo>
                  <a:cubicBezTo>
                    <a:pt x="18474" y="21600"/>
                    <a:pt x="19319" y="21098"/>
                    <a:pt x="19956" y="20183"/>
                  </a:cubicBezTo>
                  <a:cubicBezTo>
                    <a:pt x="21271" y="18295"/>
                    <a:pt x="21271" y="15221"/>
                    <a:pt x="19956" y="13334"/>
                  </a:cubicBezTo>
                  <a:cubicBezTo>
                    <a:pt x="19319" y="12418"/>
                    <a:pt x="18474" y="11909"/>
                    <a:pt x="17573" y="11909"/>
                  </a:cubicBezTo>
                  <a:cubicBezTo>
                    <a:pt x="16911" y="11909"/>
                    <a:pt x="16280" y="12189"/>
                    <a:pt x="15738" y="12697"/>
                  </a:cubicBezTo>
                  <a:lnTo>
                    <a:pt x="13211" y="7801"/>
                  </a:lnTo>
                  <a:cubicBezTo>
                    <a:pt x="13669" y="6956"/>
                    <a:pt x="13929" y="5934"/>
                    <a:pt x="13929" y="4845"/>
                  </a:cubicBezTo>
                  <a:cubicBezTo>
                    <a:pt x="13929" y="3552"/>
                    <a:pt x="13578" y="2339"/>
                    <a:pt x="12941" y="1424"/>
                  </a:cubicBezTo>
                  <a:cubicBezTo>
                    <a:pt x="12304" y="510"/>
                    <a:pt x="11454" y="0"/>
                    <a:pt x="10553" y="0"/>
                  </a:cubicBezTo>
                  <a:close/>
                  <a:moveTo>
                    <a:pt x="10553" y="1768"/>
                  </a:moveTo>
                  <a:cubicBezTo>
                    <a:pt x="11125" y="1768"/>
                    <a:pt x="11664" y="2089"/>
                    <a:pt x="12069" y="2670"/>
                  </a:cubicBezTo>
                  <a:cubicBezTo>
                    <a:pt x="12474" y="3251"/>
                    <a:pt x="12697" y="4024"/>
                    <a:pt x="12697" y="4845"/>
                  </a:cubicBezTo>
                  <a:cubicBezTo>
                    <a:pt x="12697" y="5667"/>
                    <a:pt x="12474" y="6440"/>
                    <a:pt x="12069" y="7021"/>
                  </a:cubicBezTo>
                  <a:cubicBezTo>
                    <a:pt x="11664" y="7602"/>
                    <a:pt x="11125" y="7923"/>
                    <a:pt x="10553" y="7923"/>
                  </a:cubicBezTo>
                  <a:cubicBezTo>
                    <a:pt x="9981" y="7923"/>
                    <a:pt x="9442" y="7602"/>
                    <a:pt x="9038" y="7021"/>
                  </a:cubicBezTo>
                  <a:cubicBezTo>
                    <a:pt x="8633" y="6440"/>
                    <a:pt x="8410" y="5667"/>
                    <a:pt x="8410" y="4845"/>
                  </a:cubicBezTo>
                  <a:cubicBezTo>
                    <a:pt x="8410" y="4024"/>
                    <a:pt x="8633" y="3251"/>
                    <a:pt x="9038" y="2670"/>
                  </a:cubicBezTo>
                  <a:cubicBezTo>
                    <a:pt x="9442" y="2089"/>
                    <a:pt x="9981" y="1768"/>
                    <a:pt x="10553" y="1768"/>
                  </a:cubicBezTo>
                  <a:close/>
                  <a:moveTo>
                    <a:pt x="3374" y="13677"/>
                  </a:moveTo>
                  <a:cubicBezTo>
                    <a:pt x="3947" y="13677"/>
                    <a:pt x="4485" y="13998"/>
                    <a:pt x="4890" y="14579"/>
                  </a:cubicBezTo>
                  <a:cubicBezTo>
                    <a:pt x="5725" y="15778"/>
                    <a:pt x="5725" y="17731"/>
                    <a:pt x="4890" y="18930"/>
                  </a:cubicBezTo>
                  <a:cubicBezTo>
                    <a:pt x="4485" y="19511"/>
                    <a:pt x="3947" y="19832"/>
                    <a:pt x="3374" y="19832"/>
                  </a:cubicBezTo>
                  <a:cubicBezTo>
                    <a:pt x="2802" y="19832"/>
                    <a:pt x="2263" y="19511"/>
                    <a:pt x="1859" y="18930"/>
                  </a:cubicBezTo>
                  <a:cubicBezTo>
                    <a:pt x="1023" y="17731"/>
                    <a:pt x="1023" y="15778"/>
                    <a:pt x="1859" y="14579"/>
                  </a:cubicBezTo>
                  <a:cubicBezTo>
                    <a:pt x="2263" y="13998"/>
                    <a:pt x="2802" y="13677"/>
                    <a:pt x="3374" y="13677"/>
                  </a:cubicBezTo>
                  <a:close/>
                  <a:moveTo>
                    <a:pt x="17573" y="13677"/>
                  </a:moveTo>
                  <a:cubicBezTo>
                    <a:pt x="18145" y="13677"/>
                    <a:pt x="18684" y="13998"/>
                    <a:pt x="19089" y="14579"/>
                  </a:cubicBezTo>
                  <a:cubicBezTo>
                    <a:pt x="19924" y="15778"/>
                    <a:pt x="19924" y="17731"/>
                    <a:pt x="19089" y="18930"/>
                  </a:cubicBezTo>
                  <a:cubicBezTo>
                    <a:pt x="18684" y="19511"/>
                    <a:pt x="18145" y="19832"/>
                    <a:pt x="17573" y="19832"/>
                  </a:cubicBezTo>
                  <a:cubicBezTo>
                    <a:pt x="17000" y="19832"/>
                    <a:pt x="16462" y="19511"/>
                    <a:pt x="16057" y="18930"/>
                  </a:cubicBezTo>
                  <a:cubicBezTo>
                    <a:pt x="15222" y="17731"/>
                    <a:pt x="15222" y="15778"/>
                    <a:pt x="16057" y="14579"/>
                  </a:cubicBezTo>
                  <a:cubicBezTo>
                    <a:pt x="16462" y="13998"/>
                    <a:pt x="17000" y="13677"/>
                    <a:pt x="17573" y="13677"/>
                  </a:cubicBez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>
              <a:defPPr>
                <a:defRPr lang="zh-CN"/>
              </a:defPPr>
              <a:lvl1pPr marL="0" algn="l" defTabSz="1313180" rtl="0" eaLnBrk="1" latinLnBrk="0" hangingPunct="1"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56590" algn="l" defTabSz="1313180" rtl="0" eaLnBrk="1" latinLnBrk="0" hangingPunct="1"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313180" algn="l" defTabSz="1313180" rtl="0" eaLnBrk="1" latinLnBrk="0" hangingPunct="1"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969770" algn="l" defTabSz="1313180" rtl="0" eaLnBrk="1" latinLnBrk="0" hangingPunct="1"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26360" algn="l" defTabSz="1313180" rtl="0" eaLnBrk="1" latinLnBrk="0" hangingPunct="1"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282950" algn="l" defTabSz="1313180" rtl="0" eaLnBrk="1" latinLnBrk="0" hangingPunct="1"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40175" algn="l" defTabSz="1313180" rtl="0" eaLnBrk="1" latinLnBrk="0" hangingPunct="1"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96765" algn="l" defTabSz="1313180" rtl="0" eaLnBrk="1" latinLnBrk="0" hangingPunct="1"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53355" algn="l" defTabSz="1313180" rtl="0" eaLnBrk="1" latinLnBrk="0" hangingPunct="1"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24765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056918" y="3003798"/>
            <a:ext cx="5573863" cy="458086"/>
            <a:chOff x="823078" y="4342122"/>
            <a:chExt cx="5387291" cy="458086"/>
          </a:xfrm>
        </p:grpSpPr>
        <p:sp>
          <p:nvSpPr>
            <p:cNvPr id="49" name="圆角矩形 37"/>
            <p:cNvSpPr/>
            <p:nvPr/>
          </p:nvSpPr>
          <p:spPr>
            <a:xfrm>
              <a:off x="1395844" y="4342122"/>
              <a:ext cx="4814525" cy="458086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0" name="文本框 39"/>
            <p:cNvSpPr txBox="1"/>
            <p:nvPr/>
          </p:nvSpPr>
          <p:spPr>
            <a:xfrm>
              <a:off x="1570112" y="4448055"/>
              <a:ext cx="257811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kumimoji="1" lang="zh-CN" altLang="en-US" sz="1600" b="1" dirty="0" smtClean="0">
                  <a:ea typeface="微软雅黑" panose="020B0503020204020204" pitchFamily="34" charset="-122"/>
                </a:rPr>
                <a:t>全面管控百胜数字资产的使用</a:t>
              </a:r>
              <a:endParaRPr kumimoji="1" lang="en-US" altLang="zh-CN" sz="1600" b="1" dirty="0">
                <a:ea typeface="微软雅黑" panose="020B0503020204020204" pitchFamily="34" charset="-122"/>
              </a:endParaRPr>
            </a:p>
          </p:txBody>
        </p:sp>
        <p:sp>
          <p:nvSpPr>
            <p:cNvPr id="51" name="Freeform 18"/>
            <p:cNvSpPr>
              <a:spLocks noEditPoints="1"/>
            </p:cNvSpPr>
            <p:nvPr/>
          </p:nvSpPr>
          <p:spPr bwMode="auto">
            <a:xfrm>
              <a:off x="823078" y="4373829"/>
              <a:ext cx="476357" cy="394673"/>
            </a:xfrm>
            <a:custGeom>
              <a:avLst/>
              <a:gdLst/>
              <a:ahLst/>
              <a:cxnLst>
                <a:cxn ang="0">
                  <a:pos x="1000" y="335"/>
                </a:cxn>
                <a:cxn ang="0">
                  <a:pos x="1130" y="44"/>
                </a:cxn>
                <a:cxn ang="0">
                  <a:pos x="892" y="91"/>
                </a:cxn>
                <a:cxn ang="0">
                  <a:pos x="664" y="57"/>
                </a:cxn>
                <a:cxn ang="0">
                  <a:pos x="807" y="343"/>
                </a:cxn>
                <a:cxn ang="0">
                  <a:pos x="822" y="1394"/>
                </a:cxn>
                <a:cxn ang="0">
                  <a:pos x="1000" y="335"/>
                </a:cxn>
                <a:cxn ang="0">
                  <a:pos x="1098" y="988"/>
                </a:cxn>
                <a:cxn ang="0">
                  <a:pos x="1052" y="1069"/>
                </a:cxn>
                <a:cxn ang="0">
                  <a:pos x="957" y="1102"/>
                </a:cxn>
                <a:cxn ang="0">
                  <a:pos x="957" y="1138"/>
                </a:cxn>
                <a:cxn ang="0">
                  <a:pos x="946" y="1163"/>
                </a:cxn>
                <a:cxn ang="0">
                  <a:pos x="910" y="1168"/>
                </a:cxn>
                <a:cxn ang="0">
                  <a:pos x="890" y="1138"/>
                </a:cxn>
                <a:cxn ang="0">
                  <a:pos x="890" y="1099"/>
                </a:cxn>
                <a:cxn ang="0">
                  <a:pos x="873" y="1095"/>
                </a:cxn>
                <a:cxn ang="0">
                  <a:pos x="792" y="1045"/>
                </a:cxn>
                <a:cxn ang="0">
                  <a:pos x="766" y="1003"/>
                </a:cxn>
                <a:cxn ang="0">
                  <a:pos x="762" y="991"/>
                </a:cxn>
                <a:cxn ang="0">
                  <a:pos x="759" y="979"/>
                </a:cxn>
                <a:cxn ang="0">
                  <a:pos x="763" y="961"/>
                </a:cxn>
                <a:cxn ang="0">
                  <a:pos x="796" y="943"/>
                </a:cxn>
                <a:cxn ang="0">
                  <a:pos x="825" y="966"/>
                </a:cxn>
                <a:cxn ang="0">
                  <a:pos x="828" y="977"/>
                </a:cxn>
                <a:cxn ang="0">
                  <a:pos x="833" y="988"/>
                </a:cxn>
                <a:cxn ang="0">
                  <a:pos x="848" y="1007"/>
                </a:cxn>
                <a:cxn ang="0">
                  <a:pos x="890" y="1030"/>
                </a:cxn>
                <a:cxn ang="0">
                  <a:pos x="890" y="898"/>
                </a:cxn>
                <a:cxn ang="0">
                  <a:pos x="803" y="860"/>
                </a:cxn>
                <a:cxn ang="0">
                  <a:pos x="773" y="824"/>
                </a:cxn>
                <a:cxn ang="0">
                  <a:pos x="763" y="776"/>
                </a:cxn>
                <a:cxn ang="0">
                  <a:pos x="773" y="728"/>
                </a:cxn>
                <a:cxn ang="0">
                  <a:pos x="800" y="690"/>
                </a:cxn>
                <a:cxn ang="0">
                  <a:pos x="890" y="650"/>
                </a:cxn>
                <a:cxn ang="0">
                  <a:pos x="890" y="613"/>
                </a:cxn>
                <a:cxn ang="0">
                  <a:pos x="902" y="588"/>
                </a:cxn>
                <a:cxn ang="0">
                  <a:pos x="938" y="583"/>
                </a:cxn>
                <a:cxn ang="0">
                  <a:pos x="957" y="613"/>
                </a:cxn>
                <a:cxn ang="0">
                  <a:pos x="957" y="650"/>
                </a:cxn>
                <a:cxn ang="0">
                  <a:pos x="970" y="652"/>
                </a:cxn>
                <a:cxn ang="0">
                  <a:pos x="1058" y="694"/>
                </a:cxn>
                <a:cxn ang="0">
                  <a:pos x="1085" y="733"/>
                </a:cxn>
                <a:cxn ang="0">
                  <a:pos x="1089" y="745"/>
                </a:cxn>
                <a:cxn ang="0">
                  <a:pos x="1092" y="757"/>
                </a:cxn>
                <a:cxn ang="0">
                  <a:pos x="1090" y="776"/>
                </a:cxn>
                <a:cxn ang="0">
                  <a:pos x="1058" y="795"/>
                </a:cxn>
                <a:cxn ang="0">
                  <a:pos x="1028" y="774"/>
                </a:cxn>
                <a:cxn ang="0">
                  <a:pos x="1025" y="763"/>
                </a:cxn>
                <a:cxn ang="0">
                  <a:pos x="1019" y="752"/>
                </a:cxn>
                <a:cxn ang="0">
                  <a:pos x="1003" y="736"/>
                </a:cxn>
                <a:cxn ang="0">
                  <a:pos x="957" y="718"/>
                </a:cxn>
                <a:cxn ang="0">
                  <a:pos x="957" y="844"/>
                </a:cxn>
                <a:cxn ang="0">
                  <a:pos x="1015" y="861"/>
                </a:cxn>
                <a:cxn ang="0">
                  <a:pos x="1084" y="916"/>
                </a:cxn>
                <a:cxn ang="0">
                  <a:pos x="1084" y="916"/>
                </a:cxn>
                <a:cxn ang="0">
                  <a:pos x="1084" y="916"/>
                </a:cxn>
                <a:cxn ang="0">
                  <a:pos x="1098" y="988"/>
                </a:cxn>
                <a:cxn ang="0">
                  <a:pos x="1098" y="988"/>
                </a:cxn>
                <a:cxn ang="0">
                  <a:pos x="1098" y="988"/>
                </a:cxn>
              </a:cxnLst>
              <a:rect l="0" t="0" r="r" b="b"/>
              <a:pathLst>
                <a:path w="1960" h="1477">
                  <a:moveTo>
                    <a:pt x="1000" y="335"/>
                  </a:moveTo>
                  <a:cubicBezTo>
                    <a:pt x="1104" y="248"/>
                    <a:pt x="1173" y="53"/>
                    <a:pt x="1130" y="44"/>
                  </a:cubicBezTo>
                  <a:cubicBezTo>
                    <a:pt x="1074" y="33"/>
                    <a:pt x="951" y="83"/>
                    <a:pt x="892" y="91"/>
                  </a:cubicBezTo>
                  <a:cubicBezTo>
                    <a:pt x="808" y="102"/>
                    <a:pt x="716" y="0"/>
                    <a:pt x="664" y="57"/>
                  </a:cubicBezTo>
                  <a:cubicBezTo>
                    <a:pt x="623" y="103"/>
                    <a:pt x="694" y="270"/>
                    <a:pt x="807" y="343"/>
                  </a:cubicBezTo>
                  <a:cubicBezTo>
                    <a:pt x="472" y="507"/>
                    <a:pt x="0" y="1334"/>
                    <a:pt x="822" y="1394"/>
                  </a:cubicBezTo>
                  <a:cubicBezTo>
                    <a:pt x="1960" y="1477"/>
                    <a:pt x="1390" y="496"/>
                    <a:pt x="1000" y="335"/>
                  </a:cubicBezTo>
                  <a:close/>
                  <a:moveTo>
                    <a:pt x="1098" y="988"/>
                  </a:moveTo>
                  <a:cubicBezTo>
                    <a:pt x="1094" y="1020"/>
                    <a:pt x="1077" y="1049"/>
                    <a:pt x="1052" y="1069"/>
                  </a:cubicBezTo>
                  <a:cubicBezTo>
                    <a:pt x="1025" y="1090"/>
                    <a:pt x="991" y="1099"/>
                    <a:pt x="957" y="1102"/>
                  </a:cubicBezTo>
                  <a:cubicBezTo>
                    <a:pt x="957" y="1138"/>
                    <a:pt x="957" y="1138"/>
                    <a:pt x="957" y="1138"/>
                  </a:cubicBezTo>
                  <a:cubicBezTo>
                    <a:pt x="957" y="1147"/>
                    <a:pt x="953" y="1156"/>
                    <a:pt x="946" y="1163"/>
                  </a:cubicBezTo>
                  <a:cubicBezTo>
                    <a:pt x="936" y="1171"/>
                    <a:pt x="922" y="1174"/>
                    <a:pt x="910" y="1168"/>
                  </a:cubicBezTo>
                  <a:cubicBezTo>
                    <a:pt x="898" y="1163"/>
                    <a:pt x="890" y="1151"/>
                    <a:pt x="890" y="1138"/>
                  </a:cubicBezTo>
                  <a:cubicBezTo>
                    <a:pt x="890" y="1099"/>
                    <a:pt x="890" y="1099"/>
                    <a:pt x="890" y="1099"/>
                  </a:cubicBezTo>
                  <a:cubicBezTo>
                    <a:pt x="885" y="1098"/>
                    <a:pt x="879" y="1096"/>
                    <a:pt x="873" y="1095"/>
                  </a:cubicBezTo>
                  <a:cubicBezTo>
                    <a:pt x="842" y="1086"/>
                    <a:pt x="813" y="1069"/>
                    <a:pt x="792" y="1045"/>
                  </a:cubicBezTo>
                  <a:cubicBezTo>
                    <a:pt x="781" y="1032"/>
                    <a:pt x="772" y="1018"/>
                    <a:pt x="766" y="1003"/>
                  </a:cubicBezTo>
                  <a:cubicBezTo>
                    <a:pt x="765" y="999"/>
                    <a:pt x="763" y="995"/>
                    <a:pt x="762" y="991"/>
                  </a:cubicBezTo>
                  <a:cubicBezTo>
                    <a:pt x="761" y="987"/>
                    <a:pt x="760" y="983"/>
                    <a:pt x="759" y="979"/>
                  </a:cubicBezTo>
                  <a:cubicBezTo>
                    <a:pt x="759" y="973"/>
                    <a:pt x="760" y="966"/>
                    <a:pt x="763" y="961"/>
                  </a:cubicBezTo>
                  <a:cubicBezTo>
                    <a:pt x="769" y="949"/>
                    <a:pt x="782" y="942"/>
                    <a:pt x="796" y="943"/>
                  </a:cubicBezTo>
                  <a:cubicBezTo>
                    <a:pt x="809" y="944"/>
                    <a:pt x="820" y="953"/>
                    <a:pt x="825" y="966"/>
                  </a:cubicBezTo>
                  <a:cubicBezTo>
                    <a:pt x="826" y="969"/>
                    <a:pt x="827" y="973"/>
                    <a:pt x="828" y="977"/>
                  </a:cubicBezTo>
                  <a:cubicBezTo>
                    <a:pt x="830" y="981"/>
                    <a:pt x="831" y="985"/>
                    <a:pt x="833" y="988"/>
                  </a:cubicBezTo>
                  <a:cubicBezTo>
                    <a:pt x="837" y="995"/>
                    <a:pt x="842" y="1001"/>
                    <a:pt x="848" y="1007"/>
                  </a:cubicBezTo>
                  <a:cubicBezTo>
                    <a:pt x="860" y="1018"/>
                    <a:pt x="875" y="1026"/>
                    <a:pt x="890" y="1030"/>
                  </a:cubicBezTo>
                  <a:cubicBezTo>
                    <a:pt x="890" y="898"/>
                    <a:pt x="890" y="898"/>
                    <a:pt x="890" y="898"/>
                  </a:cubicBezTo>
                  <a:cubicBezTo>
                    <a:pt x="860" y="890"/>
                    <a:pt x="828" y="880"/>
                    <a:pt x="803" y="860"/>
                  </a:cubicBezTo>
                  <a:cubicBezTo>
                    <a:pt x="790" y="850"/>
                    <a:pt x="780" y="838"/>
                    <a:pt x="773" y="824"/>
                  </a:cubicBezTo>
                  <a:cubicBezTo>
                    <a:pt x="766" y="809"/>
                    <a:pt x="763" y="793"/>
                    <a:pt x="763" y="776"/>
                  </a:cubicBezTo>
                  <a:cubicBezTo>
                    <a:pt x="763" y="760"/>
                    <a:pt x="766" y="743"/>
                    <a:pt x="773" y="728"/>
                  </a:cubicBezTo>
                  <a:cubicBezTo>
                    <a:pt x="779" y="714"/>
                    <a:pt x="789" y="701"/>
                    <a:pt x="800" y="690"/>
                  </a:cubicBezTo>
                  <a:cubicBezTo>
                    <a:pt x="825" y="668"/>
                    <a:pt x="858" y="655"/>
                    <a:pt x="890" y="650"/>
                  </a:cubicBezTo>
                  <a:cubicBezTo>
                    <a:pt x="890" y="613"/>
                    <a:pt x="890" y="613"/>
                    <a:pt x="890" y="613"/>
                  </a:cubicBezTo>
                  <a:cubicBezTo>
                    <a:pt x="890" y="604"/>
                    <a:pt x="895" y="595"/>
                    <a:pt x="902" y="588"/>
                  </a:cubicBezTo>
                  <a:cubicBezTo>
                    <a:pt x="912" y="580"/>
                    <a:pt x="926" y="577"/>
                    <a:pt x="938" y="583"/>
                  </a:cubicBezTo>
                  <a:cubicBezTo>
                    <a:pt x="950" y="588"/>
                    <a:pt x="957" y="600"/>
                    <a:pt x="957" y="613"/>
                  </a:cubicBezTo>
                  <a:cubicBezTo>
                    <a:pt x="957" y="650"/>
                    <a:pt x="957" y="650"/>
                    <a:pt x="957" y="650"/>
                  </a:cubicBezTo>
                  <a:cubicBezTo>
                    <a:pt x="962" y="651"/>
                    <a:pt x="966" y="651"/>
                    <a:pt x="970" y="652"/>
                  </a:cubicBezTo>
                  <a:cubicBezTo>
                    <a:pt x="1003" y="658"/>
                    <a:pt x="1034" y="671"/>
                    <a:pt x="1058" y="694"/>
                  </a:cubicBezTo>
                  <a:cubicBezTo>
                    <a:pt x="1069" y="705"/>
                    <a:pt x="1078" y="719"/>
                    <a:pt x="1085" y="733"/>
                  </a:cubicBezTo>
                  <a:cubicBezTo>
                    <a:pt x="1086" y="737"/>
                    <a:pt x="1088" y="741"/>
                    <a:pt x="1089" y="745"/>
                  </a:cubicBezTo>
                  <a:cubicBezTo>
                    <a:pt x="1091" y="749"/>
                    <a:pt x="1092" y="753"/>
                    <a:pt x="1092" y="757"/>
                  </a:cubicBezTo>
                  <a:cubicBezTo>
                    <a:pt x="1093" y="763"/>
                    <a:pt x="1092" y="770"/>
                    <a:pt x="1090" y="776"/>
                  </a:cubicBezTo>
                  <a:cubicBezTo>
                    <a:pt x="1084" y="788"/>
                    <a:pt x="1071" y="796"/>
                    <a:pt x="1058" y="795"/>
                  </a:cubicBezTo>
                  <a:cubicBezTo>
                    <a:pt x="1045" y="795"/>
                    <a:pt x="1033" y="786"/>
                    <a:pt x="1028" y="774"/>
                  </a:cubicBezTo>
                  <a:cubicBezTo>
                    <a:pt x="1027" y="770"/>
                    <a:pt x="1026" y="766"/>
                    <a:pt x="1025" y="763"/>
                  </a:cubicBezTo>
                  <a:cubicBezTo>
                    <a:pt x="1023" y="759"/>
                    <a:pt x="1021" y="756"/>
                    <a:pt x="1019" y="752"/>
                  </a:cubicBezTo>
                  <a:cubicBezTo>
                    <a:pt x="1015" y="746"/>
                    <a:pt x="1010" y="740"/>
                    <a:pt x="1003" y="736"/>
                  </a:cubicBezTo>
                  <a:cubicBezTo>
                    <a:pt x="990" y="726"/>
                    <a:pt x="974" y="721"/>
                    <a:pt x="957" y="718"/>
                  </a:cubicBezTo>
                  <a:cubicBezTo>
                    <a:pt x="957" y="844"/>
                    <a:pt x="957" y="844"/>
                    <a:pt x="957" y="844"/>
                  </a:cubicBezTo>
                  <a:cubicBezTo>
                    <a:pt x="977" y="849"/>
                    <a:pt x="996" y="854"/>
                    <a:pt x="1015" y="861"/>
                  </a:cubicBezTo>
                  <a:cubicBezTo>
                    <a:pt x="1043" y="872"/>
                    <a:pt x="1069" y="889"/>
                    <a:pt x="1084" y="916"/>
                  </a:cubicBezTo>
                  <a:cubicBezTo>
                    <a:pt x="1082" y="912"/>
                    <a:pt x="1080" y="908"/>
                    <a:pt x="1084" y="916"/>
                  </a:cubicBezTo>
                  <a:cubicBezTo>
                    <a:pt x="1089" y="924"/>
                    <a:pt x="1087" y="920"/>
                    <a:pt x="1084" y="916"/>
                  </a:cubicBezTo>
                  <a:cubicBezTo>
                    <a:pt x="1097" y="938"/>
                    <a:pt x="1101" y="963"/>
                    <a:pt x="1098" y="988"/>
                  </a:cubicBezTo>
                  <a:close/>
                  <a:moveTo>
                    <a:pt x="1098" y="988"/>
                  </a:moveTo>
                  <a:cubicBezTo>
                    <a:pt x="1098" y="988"/>
                    <a:pt x="1098" y="988"/>
                    <a:pt x="1098" y="988"/>
                  </a:cubicBezTo>
                </a:path>
              </a:pathLst>
            </a:custGeom>
            <a:solidFill>
              <a:srgbClr val="D9D9D9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6781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"/>
          <p:cNvSpPr txBox="1">
            <a:spLocks noChangeArrowheads="1"/>
          </p:cNvSpPr>
          <p:nvPr/>
        </p:nvSpPr>
        <p:spPr bwMode="gray">
          <a:xfrm>
            <a:off x="0" y="195486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</a:rPr>
              <a:t>支付中心建设现状</a:t>
            </a:r>
            <a:endParaRPr lang="zh-CN" altLang="en-US" sz="2000" b="1" dirty="0">
              <a:latin typeface="+mj-ea"/>
              <a:ea typeface="+mj-ea"/>
              <a:cs typeface="微软雅黑" panose="020B0503020204020204" charset="-122"/>
              <a:sym typeface="+mn-ea"/>
            </a:endParaRP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15C4C498-D556-449F-B55E-4D19053FB9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0794802"/>
              </p:ext>
            </p:extLst>
          </p:nvPr>
        </p:nvGraphicFramePr>
        <p:xfrm>
          <a:off x="395536" y="987572"/>
          <a:ext cx="8064893" cy="3744418"/>
        </p:xfrm>
        <a:graphic>
          <a:graphicData uri="http://schemas.openxmlformats.org/drawingml/2006/table">
            <a:tbl>
              <a:tblPr/>
              <a:tblGrid>
                <a:gridCol w="524072">
                  <a:extLst>
                    <a:ext uri="{9D8B030D-6E8A-4147-A177-3AD203B41FA5}">
                      <a16:colId xmlns:a16="http://schemas.microsoft.com/office/drawing/2014/main" val="3005535534"/>
                    </a:ext>
                  </a:extLst>
                </a:gridCol>
                <a:gridCol w="484040">
                  <a:extLst>
                    <a:ext uri="{9D8B030D-6E8A-4147-A177-3AD203B41FA5}">
                      <a16:colId xmlns:a16="http://schemas.microsoft.com/office/drawing/2014/main" val="2530158929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3106199013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4090362974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1874272689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3041806519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2712489645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3445023918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2866560668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3695526050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299165680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264061443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3232649821"/>
                    </a:ext>
                  </a:extLst>
                </a:gridCol>
                <a:gridCol w="360040">
                  <a:extLst>
                    <a:ext uri="{9D8B030D-6E8A-4147-A177-3AD203B41FA5}">
                      <a16:colId xmlns:a16="http://schemas.microsoft.com/office/drawing/2014/main" val="2075620327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2986202719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625310510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224990290"/>
                    </a:ext>
                  </a:extLst>
                </a:gridCol>
                <a:gridCol w="504053">
                  <a:extLst>
                    <a:ext uri="{9D8B030D-6E8A-4147-A177-3AD203B41FA5}">
                      <a16:colId xmlns:a16="http://schemas.microsoft.com/office/drawing/2014/main" val="1751527953"/>
                    </a:ext>
                  </a:extLst>
                </a:gridCol>
              </a:tblGrid>
              <a:tr h="18076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业务类别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订单类型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品牌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渠道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支付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第三方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退单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数据归属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9641407"/>
                  </a:ext>
                </a:extLst>
              </a:tr>
              <a:tr h="22043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支付宝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微信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V</a:t>
                      </a:r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金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券</a:t>
                      </a:r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/</a:t>
                      </a:r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权益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余额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神钱包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美团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饿了么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钱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积分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券</a:t>
                      </a:r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/</a:t>
                      </a:r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权益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发票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prime</a:t>
                      </a:r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卡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298199"/>
                  </a:ext>
                </a:extLst>
              </a:tr>
              <a:tr h="330433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点餐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线上订单 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KFC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KFC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自助点餐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B05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2684567"/>
                  </a:ext>
                </a:extLst>
              </a:tr>
              <a:tr h="33043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KFC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宅急送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B05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319683"/>
                  </a:ext>
                </a:extLst>
              </a:tr>
              <a:tr h="33043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PH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PH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扫码</a:t>
                      </a: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/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外带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zh-CN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zh-CN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B05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1118313"/>
                  </a:ext>
                </a:extLst>
              </a:tr>
              <a:tr h="33043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PH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宅急送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B05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0858218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TACO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TACOBELL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B05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3550671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CJ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CJ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自取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B05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1407353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CJ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外送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B05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1641491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LA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LA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B05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915862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线下订单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ALL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kiosk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9986922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cpo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8448621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银二代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3044997"/>
                  </a:ext>
                </a:extLst>
              </a:tr>
              <a:tr h="25268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商城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线上订单 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KFC/PH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vmal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77995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659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直接箭头连接符 70">
            <a:extLst>
              <a:ext uri="{FF2B5EF4-FFF2-40B4-BE49-F238E27FC236}">
                <a16:creationId xmlns:a16="http://schemas.microsoft.com/office/drawing/2014/main" id="{85D6E642-978E-E049-884B-29DDA5FFF490}"/>
              </a:ext>
            </a:extLst>
          </p:cNvPr>
          <p:cNvCxnSpPr>
            <a:cxnSpLocks/>
          </p:cNvCxnSpPr>
          <p:nvPr/>
        </p:nvCxnSpPr>
        <p:spPr>
          <a:xfrm>
            <a:off x="7884408" y="1484466"/>
            <a:ext cx="360000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ot"/>
            <a:tailEnd type="triangle"/>
          </a:ln>
          <a:effec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3" name="直接箭头连接符 83">
            <a:extLst>
              <a:ext uri="{FF2B5EF4-FFF2-40B4-BE49-F238E27FC236}">
                <a16:creationId xmlns:a16="http://schemas.microsoft.com/office/drawing/2014/main" id="{B1C470C7-5BAC-4745-B5CE-B5D96213BEAE}"/>
              </a:ext>
            </a:extLst>
          </p:cNvPr>
          <p:cNvCxnSpPr>
            <a:cxnSpLocks/>
          </p:cNvCxnSpPr>
          <p:nvPr/>
        </p:nvCxnSpPr>
        <p:spPr>
          <a:xfrm>
            <a:off x="7884408" y="1214093"/>
            <a:ext cx="360000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4" name="文本框 93">
            <a:extLst>
              <a:ext uri="{FF2B5EF4-FFF2-40B4-BE49-F238E27FC236}">
                <a16:creationId xmlns:a16="http://schemas.microsoft.com/office/drawing/2014/main" id="{29D6F212-B8EA-BB48-B118-EC37F22B8335}"/>
              </a:ext>
            </a:extLst>
          </p:cNvPr>
          <p:cNvSpPr txBox="1"/>
          <p:nvPr/>
        </p:nvSpPr>
        <p:spPr>
          <a:xfrm>
            <a:off x="8307511" y="1147351"/>
            <a:ext cx="51296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付款路线</a:t>
            </a:r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4C909907-1DED-D94C-9A7B-F1C4E180CD0D}"/>
              </a:ext>
            </a:extLst>
          </p:cNvPr>
          <p:cNvSpPr txBox="1"/>
          <p:nvPr/>
        </p:nvSpPr>
        <p:spPr>
          <a:xfrm>
            <a:off x="8307511" y="1407522"/>
            <a:ext cx="51296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退款路线</a:t>
            </a:r>
          </a:p>
        </p:txBody>
      </p:sp>
      <p:cxnSp>
        <p:nvCxnSpPr>
          <p:cNvPr id="96" name="直接箭头连接符 101">
            <a:extLst>
              <a:ext uri="{FF2B5EF4-FFF2-40B4-BE49-F238E27FC236}">
                <a16:creationId xmlns:a16="http://schemas.microsoft.com/office/drawing/2014/main" id="{A763501D-BBE0-D74E-9A39-A3B0B06726B9}"/>
              </a:ext>
            </a:extLst>
          </p:cNvPr>
          <p:cNvCxnSpPr>
            <a:cxnSpLocks/>
          </p:cNvCxnSpPr>
          <p:nvPr/>
        </p:nvCxnSpPr>
        <p:spPr>
          <a:xfrm>
            <a:off x="7884408" y="1754838"/>
            <a:ext cx="360000" cy="0"/>
          </a:xfrm>
          <a:prstGeom prst="straightConnector1">
            <a:avLst/>
          </a:prstGeom>
          <a:ln w="19050">
            <a:solidFill>
              <a:srgbClr val="4F81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文本框 96">
            <a:extLst>
              <a:ext uri="{FF2B5EF4-FFF2-40B4-BE49-F238E27FC236}">
                <a16:creationId xmlns:a16="http://schemas.microsoft.com/office/drawing/2014/main" id="{D6D15AB8-1876-D54D-AC4E-6C89FFCF0412}"/>
              </a:ext>
            </a:extLst>
          </p:cNvPr>
          <p:cNvSpPr txBox="1"/>
          <p:nvPr/>
        </p:nvSpPr>
        <p:spPr>
          <a:xfrm>
            <a:off x="8307511" y="1667693"/>
            <a:ext cx="51296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对账路线</a:t>
            </a:r>
          </a:p>
        </p:txBody>
      </p:sp>
      <p:sp>
        <p:nvSpPr>
          <p:cNvPr id="104" name="圆角矩形 103">
            <a:extLst>
              <a:ext uri="{FF2B5EF4-FFF2-40B4-BE49-F238E27FC236}">
                <a16:creationId xmlns:a16="http://schemas.microsoft.com/office/drawing/2014/main" id="{4CB8EC92-675C-664D-ABAE-11895DA843F2}"/>
              </a:ext>
            </a:extLst>
          </p:cNvPr>
          <p:cNvSpPr/>
          <p:nvPr/>
        </p:nvSpPr>
        <p:spPr>
          <a:xfrm>
            <a:off x="0" y="3216126"/>
            <a:ext cx="9144000" cy="192736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21" name="Text Box 18">
            <a:extLst>
              <a:ext uri="{FF2B5EF4-FFF2-40B4-BE49-F238E27FC236}">
                <a16:creationId xmlns:a16="http://schemas.microsoft.com/office/drawing/2014/main" id="{7D4DD098-C326-B944-BEC5-2E68FF917E1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191" y="195486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en-US" altLang="zh-CN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IT Solution</a:t>
            </a: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：支付中</a:t>
            </a:r>
            <a:r>
              <a:rPr lang="zh-CN" altLang="en-US" sz="2000" b="1" dirty="0" smtClean="0">
                <a:latin typeface="+mj-ea"/>
                <a:ea typeface="+mj-ea"/>
                <a:cs typeface="微软雅黑" panose="020B0503020204020204" charset="-122"/>
                <a:sym typeface="+mn-ea"/>
              </a:rPr>
              <a:t>心系统现状</a:t>
            </a:r>
            <a:endParaRPr lang="zh-CN" altLang="en-US" sz="2000" b="1" dirty="0">
              <a:latin typeface="+mj-ea"/>
              <a:ea typeface="+mj-ea"/>
              <a:cs typeface="微软雅黑" panose="020B0503020204020204" charset="-122"/>
              <a:sym typeface="+mn-ea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683569" y="841622"/>
            <a:ext cx="6627192" cy="2234184"/>
            <a:chOff x="683569" y="841622"/>
            <a:chExt cx="6627192" cy="2234184"/>
          </a:xfrm>
        </p:grpSpPr>
        <p:sp>
          <p:nvSpPr>
            <p:cNvPr id="2" name="圆角矩形 46">
              <a:extLst>
                <a:ext uri="{FF2B5EF4-FFF2-40B4-BE49-F238E27FC236}">
                  <a16:creationId xmlns:a16="http://schemas.microsoft.com/office/drawing/2014/main" id="{054B4FBF-2AD6-0B42-B11B-E9C82C42BB8E}"/>
                </a:ext>
              </a:extLst>
            </p:cNvPr>
            <p:cNvSpPr/>
            <p:nvPr/>
          </p:nvSpPr>
          <p:spPr>
            <a:xfrm rot="16200000">
              <a:off x="629514" y="1124834"/>
              <a:ext cx="1188110" cy="1080000"/>
            </a:xfrm>
            <a:prstGeom prst="roundRect">
              <a:avLst>
                <a:gd name="adj" fmla="val 5612"/>
              </a:avLst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10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业务系统</a:t>
              </a:r>
            </a:p>
          </p:txBody>
        </p:sp>
        <p:sp>
          <p:nvSpPr>
            <p:cNvPr id="10" name="圆角矩形 9">
              <a:extLst>
                <a:ext uri="{FF2B5EF4-FFF2-40B4-BE49-F238E27FC236}">
                  <a16:creationId xmlns:a16="http://schemas.microsoft.com/office/drawing/2014/main" id="{96376FA5-3B8C-C24B-A2E5-C4AF18DB0D1C}"/>
                </a:ext>
              </a:extLst>
            </p:cNvPr>
            <p:cNvSpPr/>
            <p:nvPr/>
          </p:nvSpPr>
          <p:spPr>
            <a:xfrm rot="16200000">
              <a:off x="3486644" y="80640"/>
              <a:ext cx="540000" cy="2520279"/>
            </a:xfrm>
            <a:prstGeom prst="roundRect">
              <a:avLst>
                <a:gd name="adj" fmla="val 7171"/>
              </a:avLst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C-Pay</a:t>
              </a:r>
              <a:endPara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1" name="圆角矩形 10">
              <a:extLst>
                <a:ext uri="{FF2B5EF4-FFF2-40B4-BE49-F238E27FC236}">
                  <a16:creationId xmlns:a16="http://schemas.microsoft.com/office/drawing/2014/main" id="{C4A5A21C-656A-0D48-A705-BDE234E4D75D}"/>
                </a:ext>
              </a:extLst>
            </p:cNvPr>
            <p:cNvSpPr/>
            <p:nvPr/>
          </p:nvSpPr>
          <p:spPr>
            <a:xfrm rot="16200000">
              <a:off x="2886201" y="1509195"/>
              <a:ext cx="360000" cy="1139397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OCC</a:t>
              </a:r>
              <a:endPara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12" name="圆角矩形 11">
              <a:extLst>
                <a:ext uri="{FF2B5EF4-FFF2-40B4-BE49-F238E27FC236}">
                  <a16:creationId xmlns:a16="http://schemas.microsoft.com/office/drawing/2014/main" id="{974EBC32-FB2B-D84A-9CD3-416F12B714AA}"/>
                </a:ext>
              </a:extLst>
            </p:cNvPr>
            <p:cNvSpPr/>
            <p:nvPr/>
          </p:nvSpPr>
          <p:spPr>
            <a:xfrm rot="16200000">
              <a:off x="4267084" y="1509195"/>
              <a:ext cx="360000" cy="1139398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1000" kern="0" dirty="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BC</a:t>
              </a:r>
              <a:endPara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cxnSp>
          <p:nvCxnSpPr>
            <p:cNvPr id="13" name="直接箭头连接符 3">
              <a:extLst>
                <a:ext uri="{FF2B5EF4-FFF2-40B4-BE49-F238E27FC236}">
                  <a16:creationId xmlns:a16="http://schemas.microsoft.com/office/drawing/2014/main" id="{76E5EE44-3AEE-7D4F-A939-6E23A249ADFE}"/>
                </a:ext>
              </a:extLst>
            </p:cNvPr>
            <p:cNvCxnSpPr>
              <a:cxnSpLocks/>
            </p:cNvCxnSpPr>
            <p:nvPr/>
          </p:nvCxnSpPr>
          <p:spPr>
            <a:xfrm>
              <a:off x="1772118" y="1340749"/>
              <a:ext cx="652377" cy="0"/>
            </a:xfrm>
            <a:prstGeom prst="straightConnector1">
              <a:avLst/>
            </a:prstGeom>
            <a:ln w="19050">
              <a:tailEnd type="triangle"/>
            </a:ln>
            <a:effec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直接箭头连接符 3">
              <a:extLst>
                <a:ext uri="{FF2B5EF4-FFF2-40B4-BE49-F238E27FC236}">
                  <a16:creationId xmlns:a16="http://schemas.microsoft.com/office/drawing/2014/main" id="{7CE13F5C-3057-3A49-B446-4D1E7A2094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63569" y="2078893"/>
              <a:ext cx="660926" cy="1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triangle"/>
            </a:ln>
            <a:effec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直线箭头连接符 23">
              <a:extLst>
                <a:ext uri="{FF2B5EF4-FFF2-40B4-BE49-F238E27FC236}">
                  <a16:creationId xmlns:a16="http://schemas.microsoft.com/office/drawing/2014/main" id="{B6DD30AC-A1ED-A84A-82B2-65A60EE616E0}"/>
                </a:ext>
              </a:extLst>
            </p:cNvPr>
            <p:cNvCxnSpPr>
              <a:cxnSpLocks/>
              <a:stCxn id="12" idx="3"/>
            </p:cNvCxnSpPr>
            <p:nvPr/>
          </p:nvCxnSpPr>
          <p:spPr>
            <a:xfrm flipV="1">
              <a:off x="4447084" y="1645982"/>
              <a:ext cx="0" cy="252912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triangle"/>
            </a:ln>
            <a:effec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0" name="直接箭头连接符 3">
              <a:extLst>
                <a:ext uri="{FF2B5EF4-FFF2-40B4-BE49-F238E27FC236}">
                  <a16:creationId xmlns:a16="http://schemas.microsoft.com/office/drawing/2014/main" id="{584D3D31-26F5-C242-9614-608EC256CE16}"/>
                </a:ext>
              </a:extLst>
            </p:cNvPr>
            <p:cNvCxnSpPr>
              <a:cxnSpLocks/>
              <a:stCxn id="11" idx="2"/>
              <a:endCxn id="12" idx="0"/>
            </p:cNvCxnSpPr>
            <p:nvPr/>
          </p:nvCxnSpPr>
          <p:spPr>
            <a:xfrm>
              <a:off x="3635900" y="2078893"/>
              <a:ext cx="241485" cy="1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triangle"/>
            </a:ln>
            <a:effec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35" name="圆角矩形 34">
              <a:extLst>
                <a:ext uri="{FF2B5EF4-FFF2-40B4-BE49-F238E27FC236}">
                  <a16:creationId xmlns:a16="http://schemas.microsoft.com/office/drawing/2014/main" id="{B1B2561D-196E-AE40-846B-2EBA7559DDEA}"/>
                </a:ext>
              </a:extLst>
            </p:cNvPr>
            <p:cNvSpPr/>
            <p:nvPr/>
          </p:nvSpPr>
          <p:spPr>
            <a:xfrm rot="16200000">
              <a:off x="2789189" y="2204272"/>
              <a:ext cx="554023" cy="1139397"/>
            </a:xfrm>
            <a:prstGeom prst="roundRect">
              <a:avLst>
                <a:gd name="adj" fmla="val 8635"/>
              </a:avLst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10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百胜数字资产</a:t>
              </a:r>
              <a:endParaRPr lang="en-US" altLang="zh-CN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algn="ctr"/>
              <a:r>
                <a:rPr lang="zh-CN" altLang="en-US" sz="8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（券、权益）</a:t>
              </a:r>
            </a:p>
          </p:txBody>
        </p:sp>
        <p:sp>
          <p:nvSpPr>
            <p:cNvPr id="36" name="圆角矩形 35">
              <a:extLst>
                <a:ext uri="{FF2B5EF4-FFF2-40B4-BE49-F238E27FC236}">
                  <a16:creationId xmlns:a16="http://schemas.microsoft.com/office/drawing/2014/main" id="{CB20ED7D-EF7C-DE41-95E2-B121E3581652}"/>
                </a:ext>
              </a:extLst>
            </p:cNvPr>
            <p:cNvSpPr/>
            <p:nvPr/>
          </p:nvSpPr>
          <p:spPr>
            <a:xfrm rot="16200000">
              <a:off x="4170073" y="2204271"/>
              <a:ext cx="554023" cy="1139397"/>
            </a:xfrm>
            <a:prstGeom prst="roundRect">
              <a:avLst>
                <a:gd name="adj" fmla="val 8635"/>
              </a:avLst>
            </a:prstGeom>
            <a:solidFill>
              <a:srgbClr val="EAEAE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10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财务系统</a:t>
              </a:r>
              <a:endParaRPr lang="zh-CN" altLang="en-US" sz="8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cxnSp>
          <p:nvCxnSpPr>
            <p:cNvPr id="40" name="肘形连接符 39">
              <a:extLst>
                <a:ext uri="{FF2B5EF4-FFF2-40B4-BE49-F238E27FC236}">
                  <a16:creationId xmlns:a16="http://schemas.microsoft.com/office/drawing/2014/main" id="{D06A2CE5-FE61-A54E-9EF3-120606C2C792}"/>
                </a:ext>
              </a:extLst>
            </p:cNvPr>
            <p:cNvCxnSpPr>
              <a:cxnSpLocks/>
              <a:stCxn id="2" idx="1"/>
            </p:cNvCxnSpPr>
            <p:nvPr/>
          </p:nvCxnSpPr>
          <p:spPr>
            <a:xfrm rot="16200000" flipH="1">
              <a:off x="1566492" y="1915966"/>
              <a:ext cx="515080" cy="1200926"/>
            </a:xfrm>
            <a:prstGeom prst="bentConnector2">
              <a:avLst/>
            </a:prstGeom>
            <a:ln w="19050">
              <a:tailEnd type="triangle"/>
            </a:ln>
            <a:effec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8" name="直线箭头连接符 47">
              <a:extLst>
                <a:ext uri="{FF2B5EF4-FFF2-40B4-BE49-F238E27FC236}">
                  <a16:creationId xmlns:a16="http://schemas.microsoft.com/office/drawing/2014/main" id="{44A9D57F-BD8C-514C-9750-D16276548C65}"/>
                </a:ext>
              </a:extLst>
            </p:cNvPr>
            <p:cNvCxnSpPr>
              <a:cxnSpLocks/>
              <a:stCxn id="11" idx="1"/>
              <a:endCxn id="35" idx="3"/>
            </p:cNvCxnSpPr>
            <p:nvPr/>
          </p:nvCxnSpPr>
          <p:spPr>
            <a:xfrm flipH="1">
              <a:off x="3066201" y="2258894"/>
              <a:ext cx="1" cy="238065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triangle"/>
            </a:ln>
            <a:effec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6" name="直线连接符 55">
              <a:extLst>
                <a:ext uri="{FF2B5EF4-FFF2-40B4-BE49-F238E27FC236}">
                  <a16:creationId xmlns:a16="http://schemas.microsoft.com/office/drawing/2014/main" id="{CF39EEE6-2D5D-A846-8721-381D59E2063A}"/>
                </a:ext>
              </a:extLst>
            </p:cNvPr>
            <p:cNvCxnSpPr>
              <a:cxnSpLocks/>
            </p:cNvCxnSpPr>
            <p:nvPr/>
          </p:nvCxnSpPr>
          <p:spPr>
            <a:xfrm>
              <a:off x="5016784" y="1466806"/>
              <a:ext cx="241485" cy="2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肘形连接符 57">
              <a:extLst>
                <a:ext uri="{FF2B5EF4-FFF2-40B4-BE49-F238E27FC236}">
                  <a16:creationId xmlns:a16="http://schemas.microsoft.com/office/drawing/2014/main" id="{49B1BF80-5AFA-2142-8A12-F67C8C4C158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557087" y="1927239"/>
              <a:ext cx="1167369" cy="234994"/>
            </a:xfrm>
            <a:prstGeom prst="bentConnector3">
              <a:avLst>
                <a:gd name="adj1" fmla="val 99780"/>
              </a:avLst>
            </a:prstGeom>
            <a:ln w="19050">
              <a:solidFill>
                <a:srgbClr val="0070C0"/>
              </a:solidFill>
              <a:tailEnd type="triangle"/>
            </a:ln>
            <a:effec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62" name="圆角矩形 46">
              <a:extLst>
                <a:ext uri="{FF2B5EF4-FFF2-40B4-BE49-F238E27FC236}">
                  <a16:creationId xmlns:a16="http://schemas.microsoft.com/office/drawing/2014/main" id="{72609AFA-D4C0-E243-AF06-46594595AA72}"/>
                </a:ext>
              </a:extLst>
            </p:cNvPr>
            <p:cNvSpPr/>
            <p:nvPr/>
          </p:nvSpPr>
          <p:spPr>
            <a:xfrm rot="16200000">
              <a:off x="5625557" y="1390601"/>
              <a:ext cx="1973632" cy="1396777"/>
            </a:xfrm>
            <a:prstGeom prst="roundRect">
              <a:avLst>
                <a:gd name="adj" fmla="val 3164"/>
              </a:avLst>
            </a:prstGeom>
            <a:solidFill>
              <a:schemeClr val="bg1"/>
            </a:solidFill>
            <a:ln w="19050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0" name="圆角矩形 69">
              <a:extLst>
                <a:ext uri="{FF2B5EF4-FFF2-40B4-BE49-F238E27FC236}">
                  <a16:creationId xmlns:a16="http://schemas.microsoft.com/office/drawing/2014/main" id="{58D39BFA-1DC5-B04B-BEFE-AE93590C183F}"/>
                </a:ext>
              </a:extLst>
            </p:cNvPr>
            <p:cNvSpPr/>
            <p:nvPr/>
          </p:nvSpPr>
          <p:spPr>
            <a:xfrm rot="16200000">
              <a:off x="6442650" y="885907"/>
              <a:ext cx="360000" cy="1139398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1000" kern="0" dirty="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支付公司</a:t>
              </a:r>
            </a:p>
          </p:txBody>
        </p:sp>
        <p:sp>
          <p:nvSpPr>
            <p:cNvPr id="71" name="圆角矩形 70">
              <a:extLst>
                <a:ext uri="{FF2B5EF4-FFF2-40B4-BE49-F238E27FC236}">
                  <a16:creationId xmlns:a16="http://schemas.microsoft.com/office/drawing/2014/main" id="{A89F9AD4-A7F4-FB41-8C20-9558B94D5A5D}"/>
                </a:ext>
              </a:extLst>
            </p:cNvPr>
            <p:cNvSpPr/>
            <p:nvPr/>
          </p:nvSpPr>
          <p:spPr>
            <a:xfrm rot="16200000">
              <a:off x="6442650" y="1496482"/>
              <a:ext cx="360000" cy="1139398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1000" kern="0" dirty="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美团，饿了么</a:t>
              </a:r>
            </a:p>
          </p:txBody>
        </p:sp>
        <p:sp>
          <p:nvSpPr>
            <p:cNvPr id="72" name="圆角矩形 71">
              <a:extLst>
                <a:ext uri="{FF2B5EF4-FFF2-40B4-BE49-F238E27FC236}">
                  <a16:creationId xmlns:a16="http://schemas.microsoft.com/office/drawing/2014/main" id="{83B02231-1932-4B43-856A-28223734A961}"/>
                </a:ext>
              </a:extLst>
            </p:cNvPr>
            <p:cNvSpPr/>
            <p:nvPr/>
          </p:nvSpPr>
          <p:spPr>
            <a:xfrm rot="16200000">
              <a:off x="6442650" y="2110083"/>
              <a:ext cx="360000" cy="1139398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1000" b="1" kern="0" dirty="0">
                  <a:solidFill>
                    <a:schemeClr val="bg1"/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百胜数字资产</a:t>
              </a:r>
              <a:endParaRPr lang="en-US" altLang="zh-CN" sz="1000" b="1" kern="0" dirty="0">
                <a:solidFill>
                  <a:schemeClr val="bg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endParaRPr>
            </a:p>
            <a:p>
              <a:pPr algn="ctr"/>
              <a:r>
                <a:rPr lang="zh-CN" altLang="en-US" sz="800" b="1" kern="0" dirty="0">
                  <a:solidFill>
                    <a:schemeClr val="bg1"/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（余额、神钱包、</a:t>
              </a:r>
              <a:r>
                <a:rPr lang="en-US" altLang="zh-CN" sz="800" b="1" kern="0" dirty="0">
                  <a:solidFill>
                    <a:schemeClr val="bg1"/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V</a:t>
              </a:r>
              <a:r>
                <a:rPr lang="zh-CN" altLang="en-US" sz="800" b="1" kern="0" dirty="0">
                  <a:solidFill>
                    <a:schemeClr val="bg1"/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金）</a:t>
              </a:r>
            </a:p>
          </p:txBody>
        </p:sp>
        <p:cxnSp>
          <p:nvCxnSpPr>
            <p:cNvPr id="76" name="直线箭头连接符 75">
              <a:extLst>
                <a:ext uri="{FF2B5EF4-FFF2-40B4-BE49-F238E27FC236}">
                  <a16:creationId xmlns:a16="http://schemas.microsoft.com/office/drawing/2014/main" id="{C756E7F1-2312-2D46-8608-E56CC9AD6272}"/>
                </a:ext>
              </a:extLst>
            </p:cNvPr>
            <p:cNvCxnSpPr>
              <a:cxnSpLocks/>
              <a:stCxn id="36" idx="2"/>
            </p:cNvCxnSpPr>
            <p:nvPr/>
          </p:nvCxnSpPr>
          <p:spPr>
            <a:xfrm>
              <a:off x="5016783" y="2773969"/>
              <a:ext cx="819095" cy="0"/>
            </a:xfrm>
            <a:prstGeom prst="straightConnector1">
              <a:avLst/>
            </a:prstGeom>
            <a:ln w="19050">
              <a:solidFill>
                <a:srgbClr val="0070C0"/>
              </a:solidFill>
              <a:headEnd type="triangle" w="med" len="med"/>
              <a:tailEnd type="none" w="med" len="med"/>
            </a:ln>
            <a:effec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1" name="直线箭头连接符 80">
              <a:extLst>
                <a:ext uri="{FF2B5EF4-FFF2-40B4-BE49-F238E27FC236}">
                  <a16:creationId xmlns:a16="http://schemas.microsoft.com/office/drawing/2014/main" id="{E3A6E08A-FAAA-5547-9470-4736A29A51CD}"/>
                </a:ext>
              </a:extLst>
            </p:cNvPr>
            <p:cNvCxnSpPr>
              <a:cxnSpLocks/>
            </p:cNvCxnSpPr>
            <p:nvPr/>
          </p:nvCxnSpPr>
          <p:spPr>
            <a:xfrm>
              <a:off x="5016783" y="1250782"/>
              <a:ext cx="819095" cy="0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triangle"/>
            </a:ln>
            <a:effec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2" name="直线箭头连接符 81">
              <a:extLst>
                <a:ext uri="{FF2B5EF4-FFF2-40B4-BE49-F238E27FC236}">
                  <a16:creationId xmlns:a16="http://schemas.microsoft.com/office/drawing/2014/main" id="{79D9D3A3-F29B-3340-B68C-378590CF3B5A}"/>
                </a:ext>
              </a:extLst>
            </p:cNvPr>
            <p:cNvCxnSpPr>
              <a:cxnSpLocks/>
            </p:cNvCxnSpPr>
            <p:nvPr/>
          </p:nvCxnSpPr>
          <p:spPr>
            <a:xfrm>
              <a:off x="5008237" y="1372279"/>
              <a:ext cx="827641" cy="0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triangle"/>
            </a:ln>
            <a:effec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117" name="文本框 116">
              <a:extLst>
                <a:ext uri="{FF2B5EF4-FFF2-40B4-BE49-F238E27FC236}">
                  <a16:creationId xmlns:a16="http://schemas.microsoft.com/office/drawing/2014/main" id="{16FD9734-32AB-124E-ADD4-764F47948725}"/>
                </a:ext>
              </a:extLst>
            </p:cNvPr>
            <p:cNvSpPr txBox="1"/>
            <p:nvPr/>
          </p:nvSpPr>
          <p:spPr>
            <a:xfrm>
              <a:off x="5184158" y="2825366"/>
              <a:ext cx="6517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sz="900" dirty="0">
                  <a:solidFill>
                    <a:srgbClr val="4F81BD"/>
                  </a:solidFill>
                  <a:latin typeface="微软雅黑" pitchFamily="34" charset="-122"/>
                  <a:ea typeface="微软雅黑" pitchFamily="34" charset="-122"/>
                </a:rPr>
                <a:t>非微信对账</a:t>
              </a:r>
              <a:endParaRPr lang="en-US" altLang="zh-CN" sz="900" dirty="0">
                <a:solidFill>
                  <a:srgbClr val="4F81BD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8" name="文本框 117">
              <a:extLst>
                <a:ext uri="{FF2B5EF4-FFF2-40B4-BE49-F238E27FC236}">
                  <a16:creationId xmlns:a16="http://schemas.microsoft.com/office/drawing/2014/main" id="{5E920C4A-53D7-8349-9EF3-699EA985918E}"/>
                </a:ext>
              </a:extLst>
            </p:cNvPr>
            <p:cNvSpPr txBox="1"/>
            <p:nvPr/>
          </p:nvSpPr>
          <p:spPr>
            <a:xfrm>
              <a:off x="5315558" y="1458507"/>
              <a:ext cx="163356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sz="900" dirty="0">
                  <a:solidFill>
                    <a:srgbClr val="4F81BD"/>
                  </a:solidFill>
                  <a:latin typeface="微软雅黑" pitchFamily="34" charset="-122"/>
                  <a:ea typeface="微软雅黑" pitchFamily="34" charset="-122"/>
                </a:rPr>
                <a:t>店天级别</a:t>
              </a:r>
              <a:endParaRPr lang="en-US" altLang="zh-CN" sz="900" dirty="0">
                <a:solidFill>
                  <a:srgbClr val="4F81BD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900" dirty="0">
                  <a:solidFill>
                    <a:srgbClr val="4F81BD"/>
                  </a:solidFill>
                  <a:latin typeface="微软雅黑" pitchFamily="34" charset="-122"/>
                  <a:ea typeface="微软雅黑" pitchFamily="34" charset="-122"/>
                </a:rPr>
                <a:t>账单</a:t>
              </a:r>
              <a:endParaRPr lang="en-US" altLang="zh-CN" sz="900" dirty="0">
                <a:solidFill>
                  <a:srgbClr val="4F81BD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59" name="直线箭头连接符 75">
              <a:extLst>
                <a:ext uri="{FF2B5EF4-FFF2-40B4-BE49-F238E27FC236}">
                  <a16:creationId xmlns:a16="http://schemas.microsoft.com/office/drawing/2014/main" id="{C756E7F1-2312-2D46-8608-E56CC9AD6272}"/>
                </a:ext>
              </a:extLst>
            </p:cNvPr>
            <p:cNvCxnSpPr>
              <a:cxnSpLocks/>
            </p:cNvCxnSpPr>
            <p:nvPr/>
          </p:nvCxnSpPr>
          <p:spPr>
            <a:xfrm>
              <a:off x="4609918" y="2258888"/>
              <a:ext cx="0" cy="238070"/>
            </a:xfrm>
            <a:prstGeom prst="straightConnector1">
              <a:avLst/>
            </a:prstGeom>
            <a:ln w="19050">
              <a:solidFill>
                <a:srgbClr val="0070C0"/>
              </a:solidFill>
              <a:tailEnd type="triangle"/>
            </a:ln>
            <a:effec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60" name="文本框 59"/>
            <p:cNvSpPr txBox="1"/>
            <p:nvPr/>
          </p:nvSpPr>
          <p:spPr>
            <a:xfrm>
              <a:off x="4047155" y="2340126"/>
              <a:ext cx="46166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900" dirty="0">
                  <a:solidFill>
                    <a:srgbClr val="4F81BD"/>
                  </a:solidFill>
                  <a:latin typeface="微软雅黑" pitchFamily="34" charset="-122"/>
                  <a:ea typeface="微软雅黑" pitchFamily="34" charset="-122"/>
                </a:rPr>
                <a:t>支付账单</a:t>
              </a:r>
            </a:p>
          </p:txBody>
        </p:sp>
        <p:cxnSp>
          <p:nvCxnSpPr>
            <p:cNvPr id="61" name="直接箭头连接符 3">
              <a:extLst>
                <a:ext uri="{FF2B5EF4-FFF2-40B4-BE49-F238E27FC236}">
                  <a16:creationId xmlns:a16="http://schemas.microsoft.com/office/drawing/2014/main" id="{76E5EE44-3AEE-7D4F-A939-6E23A249ADF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84601" y="1610780"/>
              <a:ext cx="3423" cy="290909"/>
            </a:xfrm>
            <a:prstGeom prst="straightConnector1">
              <a:avLst/>
            </a:prstGeom>
            <a:ln w="19050">
              <a:tailEnd type="triangle"/>
            </a:ln>
            <a:effec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9E6FA37A-BCDE-1548-AA7E-39B7231EEB53}"/>
                </a:ext>
              </a:extLst>
            </p:cNvPr>
            <p:cNvSpPr txBox="1"/>
            <p:nvPr/>
          </p:nvSpPr>
          <p:spPr>
            <a:xfrm>
              <a:off x="1846476" y="1181224"/>
              <a:ext cx="46166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900" dirty="0">
                  <a:solidFill>
                    <a:srgbClr val="C00000"/>
                  </a:solidFill>
                  <a:latin typeface="微软雅黑" pitchFamily="34" charset="-122"/>
                  <a:ea typeface="微软雅黑" pitchFamily="34" charset="-122"/>
                </a:rPr>
                <a:t>线上订单</a:t>
              </a:r>
              <a:endParaRPr lang="en-US" altLang="zh-CN" sz="9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5" name="Rounded Rectangle 14">
              <a:extLst>
                <a:ext uri="{FF2B5EF4-FFF2-40B4-BE49-F238E27FC236}">
                  <a16:creationId xmlns:a16="http://schemas.microsoft.com/office/drawing/2014/main" id="{6BFC500F-3186-624F-8633-F7F6CA662358}"/>
                </a:ext>
              </a:extLst>
            </p:cNvPr>
            <p:cNvSpPr/>
            <p:nvPr/>
          </p:nvSpPr>
          <p:spPr>
            <a:xfrm>
              <a:off x="2448949" y="937526"/>
              <a:ext cx="2609180" cy="1388641"/>
            </a:xfrm>
            <a:prstGeom prst="roundRect">
              <a:avLst>
                <a:gd name="adj" fmla="val 1158"/>
              </a:avLst>
            </a:prstGeom>
            <a:noFill/>
            <a:ln w="19050">
              <a:solidFill>
                <a:srgbClr val="C0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7" name="文本框 56">
              <a:extLst>
                <a:ext uri="{FF2B5EF4-FFF2-40B4-BE49-F238E27FC236}">
                  <a16:creationId xmlns:a16="http://schemas.microsoft.com/office/drawing/2014/main" id="{43D6B1BE-B79F-CD47-8AB5-9B9C491475D8}"/>
                </a:ext>
              </a:extLst>
            </p:cNvPr>
            <p:cNvSpPr txBox="1"/>
            <p:nvPr/>
          </p:nvSpPr>
          <p:spPr>
            <a:xfrm>
              <a:off x="3381642" y="841622"/>
              <a:ext cx="743793" cy="13989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1000" b="1" dirty="0">
                  <a:solidFill>
                    <a:srgbClr val="C00000"/>
                  </a:solidFill>
                  <a:latin typeface="微软雅黑" pitchFamily="34" charset="-122"/>
                  <a:ea typeface="微软雅黑" pitchFamily="34" charset="-122"/>
                </a:rPr>
                <a:t>   支付中心   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417507" y="3607269"/>
            <a:ext cx="1850582" cy="357312"/>
            <a:chOff x="1116560" y="3595687"/>
            <a:chExt cx="1850582" cy="357312"/>
          </a:xfrm>
        </p:grpSpPr>
        <p:sp>
          <p:nvSpPr>
            <p:cNvPr id="105" name="TextBox 98">
              <a:extLst>
                <a:ext uri="{FF2B5EF4-FFF2-40B4-BE49-F238E27FC236}">
                  <a16:creationId xmlns:a16="http://schemas.microsoft.com/office/drawing/2014/main" id="{10E36488-7CD2-A641-B178-5D5619D6AE34}"/>
                </a:ext>
              </a:extLst>
            </p:cNvPr>
            <p:cNvSpPr txBox="1"/>
            <p:nvPr/>
          </p:nvSpPr>
          <p:spPr>
            <a:xfrm>
              <a:off x="1582147" y="3635844"/>
              <a:ext cx="138499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b="1" dirty="0" smtClean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支付模型单薄</a:t>
              </a:r>
              <a:endParaRPr lang="en-US" altLang="zh-CN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65" name="图片 119">
              <a:extLst>
                <a:ext uri="{FF2B5EF4-FFF2-40B4-BE49-F238E27FC236}">
                  <a16:creationId xmlns:a16="http://schemas.microsoft.com/office/drawing/2014/main" id="{D30A2415-6821-C74A-B8A6-2D11D1BE7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560" y="3595687"/>
              <a:ext cx="357312" cy="357312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5096118" y="3607269"/>
            <a:ext cx="2081414" cy="357312"/>
            <a:chOff x="4791179" y="3463399"/>
            <a:chExt cx="2081414" cy="357312"/>
          </a:xfrm>
        </p:grpSpPr>
        <p:sp>
          <p:nvSpPr>
            <p:cNvPr id="107" name="TextBox 157">
              <a:extLst>
                <a:ext uri="{FF2B5EF4-FFF2-40B4-BE49-F238E27FC236}">
                  <a16:creationId xmlns:a16="http://schemas.microsoft.com/office/drawing/2014/main" id="{DAD0743D-26CE-D84B-BF71-ADDB71F8811C}"/>
                </a:ext>
              </a:extLst>
            </p:cNvPr>
            <p:cNvSpPr txBox="1"/>
            <p:nvPr/>
          </p:nvSpPr>
          <p:spPr>
            <a:xfrm>
              <a:off x="5256766" y="3503556"/>
              <a:ext cx="161582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风险控制能力弱</a:t>
              </a:r>
              <a:endParaRPr lang="en-US" altLang="zh-CN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63" name="图片 119">
              <a:extLst>
                <a:ext uri="{FF2B5EF4-FFF2-40B4-BE49-F238E27FC236}">
                  <a16:creationId xmlns:a16="http://schemas.microsoft.com/office/drawing/2014/main" id="{D30A2415-6821-C74A-B8A6-2D11D1BE7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3463399"/>
              <a:ext cx="357312" cy="357312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5092126" y="4284990"/>
            <a:ext cx="2792242" cy="357312"/>
            <a:chOff x="4791179" y="4200590"/>
            <a:chExt cx="2792242" cy="357312"/>
          </a:xfrm>
        </p:grpSpPr>
        <p:sp>
          <p:nvSpPr>
            <p:cNvPr id="53" name="文本框 118">
              <a:extLst>
                <a:ext uri="{FF2B5EF4-FFF2-40B4-BE49-F238E27FC236}">
                  <a16:creationId xmlns:a16="http://schemas.microsoft.com/office/drawing/2014/main" id="{02084EA0-9C6E-BF47-92AB-6E1F6535573C}"/>
                </a:ext>
              </a:extLst>
            </p:cNvPr>
            <p:cNvSpPr txBox="1"/>
            <p:nvPr/>
          </p:nvSpPr>
          <p:spPr>
            <a:xfrm>
              <a:off x="5256766" y="4256136"/>
              <a:ext cx="232665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b="1" dirty="0" smtClean="0">
                  <a:solidFill>
                    <a:srgbClr val="C00000"/>
                  </a:solidFill>
                  <a:latin typeface="微软雅黑" pitchFamily="34" charset="-122"/>
                  <a:ea typeface="微软雅黑" pitchFamily="34" charset="-122"/>
                </a:rPr>
                <a:t>系统协调能力差</a:t>
              </a:r>
              <a:endParaRPr lang="en-US" altLang="zh-CN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66" name="图片 119">
              <a:extLst>
                <a:ext uri="{FF2B5EF4-FFF2-40B4-BE49-F238E27FC236}">
                  <a16:creationId xmlns:a16="http://schemas.microsoft.com/office/drawing/2014/main" id="{D30A2415-6821-C74A-B8A6-2D11D1BE7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4200590"/>
              <a:ext cx="357312" cy="357312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1417507" y="4284990"/>
            <a:ext cx="3165197" cy="357312"/>
            <a:chOff x="4791179" y="4630453"/>
            <a:chExt cx="3165197" cy="357312"/>
          </a:xfrm>
        </p:grpSpPr>
        <p:sp>
          <p:nvSpPr>
            <p:cNvPr id="47" name="文本框 45">
              <a:extLst>
                <a:ext uri="{FF2B5EF4-FFF2-40B4-BE49-F238E27FC236}">
                  <a16:creationId xmlns:a16="http://schemas.microsoft.com/office/drawing/2014/main" id="{6240D8E9-CB17-CD48-BDE9-BA34BB2581FE}"/>
                </a:ext>
              </a:extLst>
            </p:cNvPr>
            <p:cNvSpPr txBox="1"/>
            <p:nvPr/>
          </p:nvSpPr>
          <p:spPr>
            <a:xfrm>
              <a:off x="5256766" y="4685999"/>
              <a:ext cx="269961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微软雅黑" pitchFamily="34" charset="-122"/>
                  <a:ea typeface="微软雅黑" pitchFamily="34" charset="-122"/>
                </a:rPr>
                <a:t>百胜数字资产入口分散</a:t>
              </a:r>
              <a:endParaRPr lang="en-US" altLang="zh-CN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67" name="图片 119">
              <a:extLst>
                <a:ext uri="{FF2B5EF4-FFF2-40B4-BE49-F238E27FC236}">
                  <a16:creationId xmlns:a16="http://schemas.microsoft.com/office/drawing/2014/main" id="{D30A2415-6821-C74A-B8A6-2D11D1BE7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4630453"/>
              <a:ext cx="357312" cy="3573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62300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9" name="直接箭头连接符 5"/>
          <p:cNvCxnSpPr/>
          <p:nvPr/>
        </p:nvCxnSpPr>
        <p:spPr>
          <a:xfrm flipH="1">
            <a:off x="2158101" y="1265809"/>
            <a:ext cx="1236669" cy="0"/>
          </a:xfrm>
          <a:prstGeom prst="straightConnector1">
            <a:avLst/>
          </a:prstGeom>
          <a:ln>
            <a:solidFill>
              <a:srgbClr val="C00000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圆角矩形 46">
            <a:extLst>
              <a:ext uri="{FF2B5EF4-FFF2-40B4-BE49-F238E27FC236}">
                <a16:creationId xmlns:a16="http://schemas.microsoft.com/office/drawing/2014/main" id="{72609AFA-D4C0-E243-AF06-46594595AA72}"/>
              </a:ext>
            </a:extLst>
          </p:cNvPr>
          <p:cNvSpPr/>
          <p:nvPr/>
        </p:nvSpPr>
        <p:spPr>
          <a:xfrm rot="16200000">
            <a:off x="3656314" y="607116"/>
            <a:ext cx="3680774" cy="4153658"/>
          </a:xfrm>
          <a:prstGeom prst="roundRect">
            <a:avLst>
              <a:gd name="adj" fmla="val 826"/>
            </a:avLst>
          </a:prstGeom>
          <a:noFill/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1000" kern="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Text Box 18"/>
          <p:cNvSpPr txBox="1">
            <a:spLocks noChangeArrowheads="1"/>
          </p:cNvSpPr>
          <p:nvPr/>
        </p:nvSpPr>
        <p:spPr bwMode="gray">
          <a:xfrm>
            <a:off x="35496" y="206342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 smtClean="0">
                <a:latin typeface="+mj-ea"/>
                <a:ea typeface="+mj-ea"/>
                <a:cs typeface="微软雅黑" panose="020B0503020204020204" charset="-122"/>
              </a:rPr>
              <a:t>支付</a:t>
            </a:r>
            <a:r>
              <a:rPr lang="en-US" altLang="zh-CN" sz="2000" b="1" dirty="0" smtClean="0">
                <a:latin typeface="+mj-ea"/>
                <a:ea typeface="+mj-ea"/>
                <a:cs typeface="微软雅黑" panose="020B0503020204020204" charset="-122"/>
              </a:rPr>
              <a:t>Life Cycle</a:t>
            </a:r>
            <a:endParaRPr lang="zh-CN" altLang="en-US" sz="2000" b="1" dirty="0">
              <a:latin typeface="+mj-ea"/>
              <a:ea typeface="+mj-ea"/>
              <a:cs typeface="微软雅黑" panose="020B0503020204020204" charset="-122"/>
              <a:sym typeface="+mn-ea"/>
            </a:endParaRPr>
          </a:p>
        </p:txBody>
      </p:sp>
      <p:sp>
        <p:nvSpPr>
          <p:cNvPr id="3" name="流程图: 终止 2"/>
          <p:cNvSpPr/>
          <p:nvPr/>
        </p:nvSpPr>
        <p:spPr>
          <a:xfrm>
            <a:off x="4529445" y="1147886"/>
            <a:ext cx="1008112" cy="360040"/>
          </a:xfrm>
          <a:prstGeom prst="flowChartTerminator">
            <a:avLst/>
          </a:prstGeom>
          <a:solidFill>
            <a:srgbClr val="D4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待支付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41" name="流程图: 终止 40"/>
          <p:cNvSpPr/>
          <p:nvPr/>
        </p:nvSpPr>
        <p:spPr>
          <a:xfrm>
            <a:off x="4529445" y="2266364"/>
            <a:ext cx="1008112" cy="360040"/>
          </a:xfrm>
          <a:prstGeom prst="flowChartTerminator">
            <a:avLst/>
          </a:prstGeom>
          <a:solidFill>
            <a:srgbClr val="D4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已支付</a:t>
            </a:r>
          </a:p>
        </p:txBody>
      </p:sp>
      <p:sp>
        <p:nvSpPr>
          <p:cNvPr id="42" name="流程图: 终止 41"/>
          <p:cNvSpPr/>
          <p:nvPr/>
        </p:nvSpPr>
        <p:spPr>
          <a:xfrm>
            <a:off x="5847159" y="1650825"/>
            <a:ext cx="1008112" cy="360040"/>
          </a:xfrm>
          <a:prstGeom prst="flowChartTerminator">
            <a:avLst/>
          </a:prstGeom>
          <a:solidFill>
            <a:srgbClr val="D4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部分支付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43" name="流程图: 终止 42"/>
          <p:cNvSpPr/>
          <p:nvPr/>
        </p:nvSpPr>
        <p:spPr>
          <a:xfrm>
            <a:off x="3613896" y="3127383"/>
            <a:ext cx="1008112" cy="360040"/>
          </a:xfrm>
          <a:prstGeom prst="flowChartTerminator">
            <a:avLst/>
          </a:prstGeom>
          <a:solidFill>
            <a:srgbClr val="D4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已服务</a:t>
            </a:r>
          </a:p>
        </p:txBody>
      </p:sp>
      <p:sp>
        <p:nvSpPr>
          <p:cNvPr id="44" name="流程图: 终止 43"/>
          <p:cNvSpPr/>
          <p:nvPr/>
        </p:nvSpPr>
        <p:spPr>
          <a:xfrm>
            <a:off x="4529445" y="4057600"/>
            <a:ext cx="1008112" cy="360040"/>
          </a:xfrm>
          <a:prstGeom prst="flowChartTerminator">
            <a:avLst/>
          </a:prstGeom>
          <a:solidFill>
            <a:srgbClr val="D4EC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已退款</a:t>
            </a:r>
          </a:p>
        </p:txBody>
      </p:sp>
      <p:sp>
        <p:nvSpPr>
          <p:cNvPr id="45" name="圆角矩形 44">
            <a:extLst>
              <a:ext uri="{FF2B5EF4-FFF2-40B4-BE49-F238E27FC236}">
                <a16:creationId xmlns:a16="http://schemas.microsoft.com/office/drawing/2014/main" id="{58D39BFA-1DC5-B04B-BEFE-AE93590C183F}"/>
              </a:ext>
            </a:extLst>
          </p:cNvPr>
          <p:cNvSpPr/>
          <p:nvPr/>
        </p:nvSpPr>
        <p:spPr>
          <a:xfrm rot="16200000">
            <a:off x="1501175" y="863075"/>
            <a:ext cx="468000" cy="83315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1000" kern="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系统</a:t>
            </a:r>
            <a:endParaRPr lang="zh-CN" altLang="en-US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2350033" y="967803"/>
            <a:ext cx="84638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1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提</a:t>
            </a:r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交支付订单</a:t>
            </a:r>
          </a:p>
        </p:txBody>
      </p:sp>
      <p:sp>
        <p:nvSpPr>
          <p:cNvPr id="51" name="圆角矩形 50">
            <a:extLst>
              <a:ext uri="{FF2B5EF4-FFF2-40B4-BE49-F238E27FC236}">
                <a16:creationId xmlns:a16="http://schemas.microsoft.com/office/drawing/2014/main" id="{58D39BFA-1DC5-B04B-BEFE-AE93590C183F}"/>
              </a:ext>
            </a:extLst>
          </p:cNvPr>
          <p:cNvSpPr/>
          <p:nvPr/>
        </p:nvSpPr>
        <p:spPr>
          <a:xfrm rot="16200000">
            <a:off x="1537176" y="1501212"/>
            <a:ext cx="396000" cy="83315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altLang="zh-CN" sz="1000" kern="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H</a:t>
            </a:r>
            <a:endParaRPr lang="zh-CN" altLang="en-US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3798724" y="2692388"/>
            <a:ext cx="91836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1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关单</a:t>
            </a:r>
            <a:endParaRPr lang="zh-CN" altLang="en-US" sz="1100" b="1" dirty="0" smtClean="0">
              <a:solidFill>
                <a:schemeClr val="bg1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3" name="直接箭头连接符 12"/>
          <p:cNvCxnSpPr>
            <a:stCxn id="3" idx="2"/>
            <a:endCxn id="41" idx="0"/>
          </p:cNvCxnSpPr>
          <p:nvPr/>
        </p:nvCxnSpPr>
        <p:spPr>
          <a:xfrm>
            <a:off x="5033501" y="1507926"/>
            <a:ext cx="0" cy="758438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/>
          <p:cNvCxnSpPr>
            <a:stCxn id="3" idx="3"/>
            <a:endCxn id="42" idx="0"/>
          </p:cNvCxnSpPr>
          <p:nvPr/>
        </p:nvCxnSpPr>
        <p:spPr>
          <a:xfrm>
            <a:off x="5537557" y="1327906"/>
            <a:ext cx="813658" cy="322919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/>
          <p:cNvCxnSpPr>
            <a:stCxn id="42" idx="2"/>
            <a:endCxn id="41" idx="3"/>
          </p:cNvCxnSpPr>
          <p:nvPr/>
        </p:nvCxnSpPr>
        <p:spPr>
          <a:xfrm rot="5400000">
            <a:off x="5726627" y="1821795"/>
            <a:ext cx="435519" cy="813658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>
            <a:stCxn id="43" idx="2"/>
            <a:endCxn id="44" idx="1"/>
          </p:cNvCxnSpPr>
          <p:nvPr/>
        </p:nvCxnSpPr>
        <p:spPr>
          <a:xfrm rot="16200000" flipH="1">
            <a:off x="3948600" y="3656774"/>
            <a:ext cx="750197" cy="411493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文本框 78"/>
          <p:cNvSpPr txBox="1"/>
          <p:nvPr/>
        </p:nvSpPr>
        <p:spPr>
          <a:xfrm>
            <a:off x="5701966" y="1145910"/>
            <a:ext cx="187156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组合支付</a:t>
            </a:r>
            <a:r>
              <a:rPr lang="en-US" altLang="zh-CN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卡券</a:t>
            </a:r>
            <a:r>
              <a:rPr lang="en-US" altLang="zh-CN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V</a:t>
            </a:r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金</a:t>
            </a:r>
            <a:r>
              <a:rPr lang="zh-CN" altLang="en-US" sz="11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余</a:t>
            </a:r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额支付</a:t>
            </a:r>
          </a:p>
        </p:txBody>
      </p:sp>
      <p:sp>
        <p:nvSpPr>
          <p:cNvPr id="80" name="文本框 79"/>
          <p:cNvSpPr txBox="1"/>
          <p:nvPr/>
        </p:nvSpPr>
        <p:spPr>
          <a:xfrm>
            <a:off x="5823041" y="2468167"/>
            <a:ext cx="147050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组合支付</a:t>
            </a:r>
            <a:r>
              <a:rPr lang="en-US" altLang="zh-CN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endParaRPr lang="en-US" altLang="zh-CN" sz="1100" b="1" dirty="0">
              <a:solidFill>
                <a:schemeClr val="bg1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剩余金额支付</a:t>
            </a:r>
            <a:endParaRPr lang="en-US" altLang="zh-CN" sz="1100" b="1" dirty="0" smtClean="0">
              <a:solidFill>
                <a:schemeClr val="bg1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1" name="文本框 80"/>
          <p:cNvSpPr txBox="1"/>
          <p:nvPr/>
        </p:nvSpPr>
        <p:spPr>
          <a:xfrm>
            <a:off x="4444737" y="1778250"/>
            <a:ext cx="56425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1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用</a:t>
            </a:r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户支付</a:t>
            </a:r>
          </a:p>
        </p:txBody>
      </p:sp>
      <p:sp>
        <p:nvSpPr>
          <p:cNvPr id="115" name="圆角矩形 114">
            <a:extLst>
              <a:ext uri="{FF2B5EF4-FFF2-40B4-BE49-F238E27FC236}">
                <a16:creationId xmlns:a16="http://schemas.microsoft.com/office/drawing/2014/main" id="{58D39BFA-1DC5-B04B-BEFE-AE93590C183F}"/>
              </a:ext>
            </a:extLst>
          </p:cNvPr>
          <p:cNvSpPr/>
          <p:nvPr/>
        </p:nvSpPr>
        <p:spPr>
          <a:xfrm rot="16200000">
            <a:off x="1537175" y="2103349"/>
            <a:ext cx="396000" cy="83315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altLang="zh-CN" sz="1000" kern="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S</a:t>
            </a:r>
            <a:endParaRPr lang="zh-CN" altLang="en-US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39" name="直接箭头连接符 12"/>
          <p:cNvCxnSpPr>
            <a:stCxn id="41" idx="1"/>
            <a:endCxn id="43" idx="0"/>
          </p:cNvCxnSpPr>
          <p:nvPr/>
        </p:nvCxnSpPr>
        <p:spPr>
          <a:xfrm rot="10800000" flipV="1">
            <a:off x="4117953" y="2446383"/>
            <a:ext cx="411493" cy="68099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圆角矩形 44">
            <a:extLst>
              <a:ext uri="{FF2B5EF4-FFF2-40B4-BE49-F238E27FC236}">
                <a16:creationId xmlns:a16="http://schemas.microsoft.com/office/drawing/2014/main" id="{58D39BFA-1DC5-B04B-BEFE-AE93590C183F}"/>
              </a:ext>
            </a:extLst>
          </p:cNvPr>
          <p:cNvSpPr/>
          <p:nvPr/>
        </p:nvSpPr>
        <p:spPr>
          <a:xfrm rot="16200000">
            <a:off x="3704244" y="608643"/>
            <a:ext cx="327273" cy="83315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付</a:t>
            </a:r>
            <a:r>
              <a:rPr lang="zh-CN" altLang="en-US" sz="1000" kern="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系统</a:t>
            </a:r>
            <a:endParaRPr lang="zh-CN" altLang="en-US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0" name="圆角矩形 114">
            <a:extLst>
              <a:ext uri="{FF2B5EF4-FFF2-40B4-BE49-F238E27FC236}">
                <a16:creationId xmlns:a16="http://schemas.microsoft.com/office/drawing/2014/main" id="{58D39BFA-1DC5-B04B-BEFE-AE93590C183F}"/>
              </a:ext>
            </a:extLst>
          </p:cNvPr>
          <p:cNvSpPr/>
          <p:nvPr/>
        </p:nvSpPr>
        <p:spPr>
          <a:xfrm rot="16200000">
            <a:off x="1537175" y="2705486"/>
            <a:ext cx="396000" cy="83315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altLang="zh-CN" sz="1000" kern="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OH</a:t>
            </a:r>
            <a:endParaRPr lang="zh-CN" altLang="en-US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1" name="圆角矩形 114">
            <a:extLst>
              <a:ext uri="{FF2B5EF4-FFF2-40B4-BE49-F238E27FC236}">
                <a16:creationId xmlns:a16="http://schemas.microsoft.com/office/drawing/2014/main" id="{58D39BFA-1DC5-B04B-BEFE-AE93590C183F}"/>
              </a:ext>
            </a:extLst>
          </p:cNvPr>
          <p:cNvSpPr/>
          <p:nvPr/>
        </p:nvSpPr>
        <p:spPr>
          <a:xfrm rot="16200000">
            <a:off x="1537175" y="3307623"/>
            <a:ext cx="396000" cy="83315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altLang="zh-CN" sz="1000" kern="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SC</a:t>
            </a:r>
            <a:endParaRPr lang="zh-CN" altLang="en-US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69" name="直接箭头连接符 5"/>
          <p:cNvCxnSpPr>
            <a:stCxn id="45" idx="1"/>
            <a:endCxn id="51" idx="3"/>
          </p:cNvCxnSpPr>
          <p:nvPr/>
        </p:nvCxnSpPr>
        <p:spPr>
          <a:xfrm>
            <a:off x="1735175" y="1513650"/>
            <a:ext cx="1" cy="206137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箭头连接符 5"/>
          <p:cNvCxnSpPr>
            <a:stCxn id="51" idx="1"/>
            <a:endCxn id="115" idx="3"/>
          </p:cNvCxnSpPr>
          <p:nvPr/>
        </p:nvCxnSpPr>
        <p:spPr>
          <a:xfrm flipH="1">
            <a:off x="1735175" y="2115787"/>
            <a:ext cx="1" cy="206137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箭头连接符 5"/>
          <p:cNvCxnSpPr>
            <a:stCxn id="115" idx="1"/>
            <a:endCxn id="60" idx="3"/>
          </p:cNvCxnSpPr>
          <p:nvPr/>
        </p:nvCxnSpPr>
        <p:spPr>
          <a:xfrm>
            <a:off x="1735175" y="2717924"/>
            <a:ext cx="0" cy="206137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接箭头连接符 5"/>
          <p:cNvCxnSpPr>
            <a:stCxn id="60" idx="1"/>
            <a:endCxn id="61" idx="3"/>
          </p:cNvCxnSpPr>
          <p:nvPr/>
        </p:nvCxnSpPr>
        <p:spPr>
          <a:xfrm>
            <a:off x="1735175" y="3320061"/>
            <a:ext cx="0" cy="206137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文本框 53"/>
          <p:cNvSpPr txBox="1"/>
          <p:nvPr/>
        </p:nvSpPr>
        <p:spPr>
          <a:xfrm>
            <a:off x="5041848" y="3108008"/>
            <a:ext cx="12587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下</a:t>
            </a:r>
            <a:r>
              <a:rPr lang="en-US" altLang="zh-CN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OH</a:t>
            </a:r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失败系统删单</a:t>
            </a:r>
          </a:p>
        </p:txBody>
      </p:sp>
      <p:cxnSp>
        <p:nvCxnSpPr>
          <p:cNvPr id="110" name="直接箭头连接符 12"/>
          <p:cNvCxnSpPr>
            <a:stCxn id="41" idx="2"/>
            <a:endCxn id="44" idx="0"/>
          </p:cNvCxnSpPr>
          <p:nvPr/>
        </p:nvCxnSpPr>
        <p:spPr>
          <a:xfrm>
            <a:off x="5033501" y="2626404"/>
            <a:ext cx="0" cy="143119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文本框 53"/>
          <p:cNvSpPr txBox="1"/>
          <p:nvPr/>
        </p:nvSpPr>
        <p:spPr>
          <a:xfrm>
            <a:off x="3538985" y="3777883"/>
            <a:ext cx="91836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POS</a:t>
            </a:r>
            <a:r>
              <a:rPr lang="zh-CN" altLang="en-US" sz="11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删单</a:t>
            </a:r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退款</a:t>
            </a:r>
          </a:p>
        </p:txBody>
      </p:sp>
      <p:cxnSp>
        <p:nvCxnSpPr>
          <p:cNvPr id="125" name="直接箭头连接符 16"/>
          <p:cNvCxnSpPr>
            <a:stCxn id="42" idx="3"/>
            <a:endCxn id="44" idx="3"/>
          </p:cNvCxnSpPr>
          <p:nvPr/>
        </p:nvCxnSpPr>
        <p:spPr>
          <a:xfrm flipH="1">
            <a:off x="5537557" y="1830845"/>
            <a:ext cx="1317714" cy="2406775"/>
          </a:xfrm>
          <a:prstGeom prst="bentConnector3">
            <a:avLst>
              <a:gd name="adj1" fmla="val -18794"/>
            </a:avLst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文本框 53"/>
          <p:cNvSpPr txBox="1"/>
          <p:nvPr/>
        </p:nvSpPr>
        <p:spPr>
          <a:xfrm>
            <a:off x="5727909" y="4042615"/>
            <a:ext cx="14864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待支付超</a:t>
            </a:r>
            <a:r>
              <a:rPr lang="zh-CN" altLang="en-US" sz="11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时</a:t>
            </a:r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系统删单</a:t>
            </a:r>
          </a:p>
        </p:txBody>
      </p:sp>
      <p:sp>
        <p:nvSpPr>
          <p:cNvPr id="156" name="文本框 6"/>
          <p:cNvSpPr txBox="1"/>
          <p:nvPr/>
        </p:nvSpPr>
        <p:spPr>
          <a:xfrm>
            <a:off x="2350033" y="1180988"/>
            <a:ext cx="579857" cy="169277"/>
          </a:xfrm>
          <a:prstGeom prst="rect">
            <a:avLst/>
          </a:prstGeom>
          <a:solidFill>
            <a:srgbClr val="FCFCFC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系统删</a:t>
            </a:r>
            <a:r>
              <a:rPr lang="zh-CN" altLang="en-US" sz="11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单</a:t>
            </a:r>
            <a:endParaRPr lang="zh-CN" altLang="en-US" sz="1100" b="1" dirty="0" smtClean="0">
              <a:solidFill>
                <a:schemeClr val="bg1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8" name="文本框 6"/>
          <p:cNvSpPr txBox="1"/>
          <p:nvPr/>
        </p:nvSpPr>
        <p:spPr>
          <a:xfrm>
            <a:off x="2313246" y="2899796"/>
            <a:ext cx="66835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POS</a:t>
            </a:r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删</a:t>
            </a:r>
            <a:r>
              <a:rPr lang="zh-CN" altLang="en-US" sz="11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单</a:t>
            </a:r>
            <a:endParaRPr lang="zh-CN" altLang="en-US" sz="1100" b="1" dirty="0" smtClean="0">
              <a:solidFill>
                <a:schemeClr val="bg1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3" name="文本框 6"/>
          <p:cNvSpPr txBox="1"/>
          <p:nvPr/>
        </p:nvSpPr>
        <p:spPr>
          <a:xfrm>
            <a:off x="2350033" y="1385994"/>
            <a:ext cx="27989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关单</a:t>
            </a:r>
          </a:p>
        </p:txBody>
      </p:sp>
      <p:cxnSp>
        <p:nvCxnSpPr>
          <p:cNvPr id="181" name="Straight Arrow Connector 180"/>
          <p:cNvCxnSpPr/>
          <p:nvPr/>
        </p:nvCxnSpPr>
        <p:spPr>
          <a:xfrm>
            <a:off x="979620" y="1105221"/>
            <a:ext cx="0" cy="331280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文本框 6"/>
          <p:cNvSpPr txBox="1"/>
          <p:nvPr/>
        </p:nvSpPr>
        <p:spPr>
          <a:xfrm>
            <a:off x="910076" y="1499997"/>
            <a:ext cx="154329" cy="507831"/>
          </a:xfrm>
          <a:prstGeom prst="rect">
            <a:avLst/>
          </a:prstGeom>
          <a:solidFill>
            <a:srgbClr val="FCFCFC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业务流</a:t>
            </a:r>
          </a:p>
        </p:txBody>
      </p:sp>
      <p:cxnSp>
        <p:nvCxnSpPr>
          <p:cNvPr id="183" name="Straight Arrow Connector 182"/>
          <p:cNvCxnSpPr/>
          <p:nvPr/>
        </p:nvCxnSpPr>
        <p:spPr>
          <a:xfrm>
            <a:off x="7964396" y="1105221"/>
            <a:ext cx="0" cy="331280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文本框 6"/>
          <p:cNvSpPr txBox="1"/>
          <p:nvPr/>
        </p:nvSpPr>
        <p:spPr>
          <a:xfrm>
            <a:off x="7894852" y="1499997"/>
            <a:ext cx="154329" cy="677108"/>
          </a:xfrm>
          <a:prstGeom prst="rect">
            <a:avLst/>
          </a:prstGeom>
          <a:solidFill>
            <a:srgbClr val="FCFCFC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1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状</a:t>
            </a:r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态变化</a:t>
            </a:r>
          </a:p>
        </p:txBody>
      </p:sp>
      <p:cxnSp>
        <p:nvCxnSpPr>
          <p:cNvPr id="46" name="直接箭头连接符 5"/>
          <p:cNvCxnSpPr/>
          <p:nvPr/>
        </p:nvCxnSpPr>
        <p:spPr>
          <a:xfrm flipV="1">
            <a:off x="2145624" y="1939720"/>
            <a:ext cx="1265901" cy="1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文本框 6"/>
          <p:cNvSpPr txBox="1"/>
          <p:nvPr/>
        </p:nvSpPr>
        <p:spPr>
          <a:xfrm>
            <a:off x="2350033" y="1766930"/>
            <a:ext cx="84925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1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校验</a:t>
            </a:r>
            <a:r>
              <a:rPr lang="zh-CN" altLang="en-US" sz="11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订单状态</a:t>
            </a:r>
          </a:p>
        </p:txBody>
      </p:sp>
      <p:cxnSp>
        <p:nvCxnSpPr>
          <p:cNvPr id="48" name="直接箭头连接符 5"/>
          <p:cNvCxnSpPr>
            <a:endCxn id="61" idx="2"/>
          </p:cNvCxnSpPr>
          <p:nvPr/>
        </p:nvCxnSpPr>
        <p:spPr>
          <a:xfrm flipH="1">
            <a:off x="2151750" y="3724198"/>
            <a:ext cx="1236669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文本框 6"/>
          <p:cNvSpPr txBox="1"/>
          <p:nvPr/>
        </p:nvSpPr>
        <p:spPr>
          <a:xfrm>
            <a:off x="2272726" y="3595352"/>
            <a:ext cx="114297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9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准</a:t>
            </a:r>
            <a:r>
              <a:rPr lang="zh-CN" altLang="en-US" sz="90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确的支付握手数据</a:t>
            </a:r>
          </a:p>
        </p:txBody>
      </p:sp>
      <p:sp>
        <p:nvSpPr>
          <p:cNvPr id="73" name="圆角矩形 114">
            <a:extLst>
              <a:ext uri="{FF2B5EF4-FFF2-40B4-BE49-F238E27FC236}">
                <a16:creationId xmlns:a16="http://schemas.microsoft.com/office/drawing/2014/main" id="{58D39BFA-1DC5-B04B-BEFE-AE93590C183F}"/>
              </a:ext>
            </a:extLst>
          </p:cNvPr>
          <p:cNvSpPr/>
          <p:nvPr/>
        </p:nvSpPr>
        <p:spPr>
          <a:xfrm rot="16200000">
            <a:off x="1537176" y="3909758"/>
            <a:ext cx="396000" cy="83315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1000" kern="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风控系统</a:t>
            </a:r>
            <a:endParaRPr lang="zh-CN" altLang="en-US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83" name="直接箭头连接符 5"/>
          <p:cNvCxnSpPr/>
          <p:nvPr/>
        </p:nvCxnSpPr>
        <p:spPr>
          <a:xfrm flipH="1">
            <a:off x="2157877" y="3104756"/>
            <a:ext cx="1236669" cy="0"/>
          </a:xfrm>
          <a:prstGeom prst="straightConnector1">
            <a:avLst/>
          </a:prstGeom>
          <a:ln>
            <a:solidFill>
              <a:srgbClr val="7F7F7F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接箭头连接符 5"/>
          <p:cNvCxnSpPr>
            <a:endCxn id="73" idx="2"/>
          </p:cNvCxnSpPr>
          <p:nvPr/>
        </p:nvCxnSpPr>
        <p:spPr>
          <a:xfrm flipH="1">
            <a:off x="2151751" y="4326332"/>
            <a:ext cx="1260000" cy="1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文本框 6"/>
          <p:cNvSpPr txBox="1"/>
          <p:nvPr/>
        </p:nvSpPr>
        <p:spPr>
          <a:xfrm>
            <a:off x="2358404" y="4177898"/>
            <a:ext cx="114297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05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删</a:t>
            </a:r>
            <a:r>
              <a:rPr lang="zh-CN" altLang="en-US" sz="1050" b="1" dirty="0" smtClean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单校验</a:t>
            </a:r>
          </a:p>
        </p:txBody>
      </p:sp>
      <p:cxnSp>
        <p:nvCxnSpPr>
          <p:cNvPr id="88" name="直接箭头连接符 5"/>
          <p:cNvCxnSpPr/>
          <p:nvPr/>
        </p:nvCxnSpPr>
        <p:spPr>
          <a:xfrm flipH="1">
            <a:off x="2158101" y="1392058"/>
            <a:ext cx="1236669" cy="0"/>
          </a:xfrm>
          <a:prstGeom prst="straightConnector1">
            <a:avLst/>
          </a:prstGeom>
          <a:ln>
            <a:solidFill>
              <a:srgbClr val="7F7F7F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接箭头连接符 5"/>
          <p:cNvCxnSpPr/>
          <p:nvPr/>
        </p:nvCxnSpPr>
        <p:spPr>
          <a:xfrm flipH="1">
            <a:off x="2158101" y="1139560"/>
            <a:ext cx="1236669" cy="0"/>
          </a:xfrm>
          <a:prstGeom prst="straightConnector1">
            <a:avLst/>
          </a:prstGeom>
          <a:ln>
            <a:solidFill>
              <a:srgbClr val="D9D9D9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6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Text Box 18"/>
          <p:cNvSpPr txBox="1">
            <a:spLocks noChangeArrowheads="1"/>
          </p:cNvSpPr>
          <p:nvPr/>
        </p:nvSpPr>
        <p:spPr bwMode="gray">
          <a:xfrm>
            <a:off x="0" y="195486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en-US" altLang="zh-CN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IT Solution</a:t>
            </a: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：支付中心标准及系统规</a:t>
            </a:r>
            <a:r>
              <a:rPr lang="zh-CN" altLang="en-US" sz="2000" b="1" dirty="0" smtClean="0">
                <a:latin typeface="+mj-ea"/>
                <a:ea typeface="+mj-ea"/>
                <a:cs typeface="微软雅黑" panose="020B0503020204020204" charset="-122"/>
                <a:sym typeface="+mn-ea"/>
              </a:rPr>
              <a:t>划</a:t>
            </a:r>
            <a:endParaRPr lang="zh-CN" altLang="en-US" sz="2000" b="1" dirty="0">
              <a:latin typeface="+mj-ea"/>
              <a:cs typeface="微软雅黑" panose="020B0503020204020204" charset="-122"/>
              <a:sym typeface="+mn-ea"/>
            </a:endParaRP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F850B459-48E2-854D-A7E4-51EC87A1AF74}"/>
              </a:ext>
            </a:extLst>
          </p:cNvPr>
          <p:cNvSpPr/>
          <p:nvPr/>
        </p:nvSpPr>
        <p:spPr>
          <a:xfrm>
            <a:off x="899592" y="894058"/>
            <a:ext cx="3611602" cy="57404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CE3A653A-779E-D548-9525-113B0EC6774F}"/>
              </a:ext>
            </a:extLst>
          </p:cNvPr>
          <p:cNvSpPr/>
          <p:nvPr/>
        </p:nvSpPr>
        <p:spPr>
          <a:xfrm>
            <a:off x="4616293" y="900761"/>
            <a:ext cx="3650321" cy="56657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DC8E2D41-AC7F-AA44-BCA5-02A0F587D886}"/>
              </a:ext>
            </a:extLst>
          </p:cNvPr>
          <p:cNvSpPr txBox="1"/>
          <p:nvPr/>
        </p:nvSpPr>
        <p:spPr>
          <a:xfrm>
            <a:off x="2371969" y="793626"/>
            <a:ext cx="666849" cy="186205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  业务标准  </a:t>
            </a: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D02C1161-FC39-404E-B25E-F7BDC9D7BD3B}"/>
              </a:ext>
            </a:extLst>
          </p:cNvPr>
          <p:cNvSpPr txBox="1"/>
          <p:nvPr/>
        </p:nvSpPr>
        <p:spPr>
          <a:xfrm>
            <a:off x="6069557" y="793626"/>
            <a:ext cx="743793" cy="186205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   技术标准   </a:t>
            </a:r>
          </a:p>
        </p:txBody>
      </p:sp>
      <p:sp>
        <p:nvSpPr>
          <p:cNvPr id="172" name="圆角矩形 171">
            <a:extLst>
              <a:ext uri="{FF2B5EF4-FFF2-40B4-BE49-F238E27FC236}">
                <a16:creationId xmlns:a16="http://schemas.microsoft.com/office/drawing/2014/main" id="{A5561357-A6CB-F041-A147-27030E63683F}"/>
              </a:ext>
            </a:extLst>
          </p:cNvPr>
          <p:cNvSpPr/>
          <p:nvPr/>
        </p:nvSpPr>
        <p:spPr>
          <a:xfrm>
            <a:off x="1073522" y="1052863"/>
            <a:ext cx="756000" cy="283626"/>
          </a:xfrm>
          <a:prstGeom prst="roundRect">
            <a:avLst>
              <a:gd name="adj" fmla="val 9312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自动冲销</a:t>
            </a:r>
          </a:p>
        </p:txBody>
      </p:sp>
      <p:sp>
        <p:nvSpPr>
          <p:cNvPr id="173" name="圆角矩形 172">
            <a:extLst>
              <a:ext uri="{FF2B5EF4-FFF2-40B4-BE49-F238E27FC236}">
                <a16:creationId xmlns:a16="http://schemas.microsoft.com/office/drawing/2014/main" id="{07FF4999-358A-6E41-8C72-7B4C9480346A}"/>
              </a:ext>
            </a:extLst>
          </p:cNvPr>
          <p:cNvSpPr/>
          <p:nvPr/>
        </p:nvSpPr>
        <p:spPr>
          <a:xfrm>
            <a:off x="1910816" y="1059868"/>
            <a:ext cx="756000" cy="283626"/>
          </a:xfrm>
          <a:prstGeom prst="roundRect">
            <a:avLst>
              <a:gd name="adj" fmla="val 9312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关单</a:t>
            </a:r>
          </a:p>
        </p:txBody>
      </p:sp>
      <p:sp>
        <p:nvSpPr>
          <p:cNvPr id="174" name="圆角矩形 173">
            <a:extLst>
              <a:ext uri="{FF2B5EF4-FFF2-40B4-BE49-F238E27FC236}">
                <a16:creationId xmlns:a16="http://schemas.microsoft.com/office/drawing/2014/main" id="{2089CA8D-F42F-EC4E-BE84-5BAEC8D2316E}"/>
              </a:ext>
            </a:extLst>
          </p:cNvPr>
          <p:cNvSpPr/>
          <p:nvPr/>
        </p:nvSpPr>
        <p:spPr>
          <a:xfrm>
            <a:off x="2748110" y="1059868"/>
            <a:ext cx="756000" cy="283626"/>
          </a:xfrm>
          <a:prstGeom prst="roundRect">
            <a:avLst>
              <a:gd name="adj" fmla="val 9312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风控</a:t>
            </a:r>
          </a:p>
        </p:txBody>
      </p:sp>
      <p:sp>
        <p:nvSpPr>
          <p:cNvPr id="178" name="圆角矩形 177">
            <a:extLst>
              <a:ext uri="{FF2B5EF4-FFF2-40B4-BE49-F238E27FC236}">
                <a16:creationId xmlns:a16="http://schemas.microsoft.com/office/drawing/2014/main" id="{3CDD7F88-5FF4-DE4A-BD8D-CF138C9DB630}"/>
              </a:ext>
            </a:extLst>
          </p:cNvPr>
          <p:cNvSpPr/>
          <p:nvPr/>
        </p:nvSpPr>
        <p:spPr>
          <a:xfrm>
            <a:off x="3585403" y="1059868"/>
            <a:ext cx="756000" cy="283626"/>
          </a:xfrm>
          <a:prstGeom prst="roundRect">
            <a:avLst>
              <a:gd name="adj" fmla="val 6714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对账</a:t>
            </a:r>
          </a:p>
        </p:txBody>
      </p:sp>
      <p:sp>
        <p:nvSpPr>
          <p:cNvPr id="189" name="圆角矩形 188">
            <a:extLst>
              <a:ext uri="{FF2B5EF4-FFF2-40B4-BE49-F238E27FC236}">
                <a16:creationId xmlns:a16="http://schemas.microsoft.com/office/drawing/2014/main" id="{44615DAA-EAD2-D84C-A804-506C5479C30C}"/>
              </a:ext>
            </a:extLst>
          </p:cNvPr>
          <p:cNvSpPr/>
          <p:nvPr/>
        </p:nvSpPr>
        <p:spPr>
          <a:xfrm>
            <a:off x="4785443" y="1061917"/>
            <a:ext cx="756000" cy="283626"/>
          </a:xfrm>
          <a:prstGeom prst="roundRect">
            <a:avLst>
              <a:gd name="adj" fmla="val 9312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业务接入</a:t>
            </a:r>
          </a:p>
        </p:txBody>
      </p:sp>
      <p:sp>
        <p:nvSpPr>
          <p:cNvPr id="192" name="圆角矩形 191">
            <a:extLst>
              <a:ext uri="{FF2B5EF4-FFF2-40B4-BE49-F238E27FC236}">
                <a16:creationId xmlns:a16="http://schemas.microsoft.com/office/drawing/2014/main" id="{B718D848-76C9-554E-82E1-FE7901C42758}"/>
              </a:ext>
            </a:extLst>
          </p:cNvPr>
          <p:cNvSpPr/>
          <p:nvPr/>
        </p:nvSpPr>
        <p:spPr>
          <a:xfrm>
            <a:off x="5622737" y="1068922"/>
            <a:ext cx="756000" cy="283626"/>
          </a:xfrm>
          <a:prstGeom prst="roundRect">
            <a:avLst>
              <a:gd name="adj" fmla="val 9312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渠道接入</a:t>
            </a:r>
          </a:p>
        </p:txBody>
      </p:sp>
      <p:sp>
        <p:nvSpPr>
          <p:cNvPr id="197" name="圆角矩形 196">
            <a:extLst>
              <a:ext uri="{FF2B5EF4-FFF2-40B4-BE49-F238E27FC236}">
                <a16:creationId xmlns:a16="http://schemas.microsoft.com/office/drawing/2014/main" id="{33FB30F8-7BF6-0747-9D47-C7667D484BDF}"/>
              </a:ext>
            </a:extLst>
          </p:cNvPr>
          <p:cNvSpPr/>
          <p:nvPr/>
        </p:nvSpPr>
        <p:spPr>
          <a:xfrm>
            <a:off x="6460031" y="1068922"/>
            <a:ext cx="756000" cy="283626"/>
          </a:xfrm>
          <a:prstGeom prst="roundRect">
            <a:avLst>
              <a:gd name="adj" fmla="val 9312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支付标识</a:t>
            </a:r>
          </a:p>
        </p:txBody>
      </p:sp>
      <p:sp>
        <p:nvSpPr>
          <p:cNvPr id="198" name="圆角矩形 197">
            <a:extLst>
              <a:ext uri="{FF2B5EF4-FFF2-40B4-BE49-F238E27FC236}">
                <a16:creationId xmlns:a16="http://schemas.microsoft.com/office/drawing/2014/main" id="{4C1F2E71-A952-AA43-9823-EA03E4E4E71E}"/>
              </a:ext>
            </a:extLst>
          </p:cNvPr>
          <p:cNvSpPr/>
          <p:nvPr/>
        </p:nvSpPr>
        <p:spPr>
          <a:xfrm>
            <a:off x="7297324" y="1068922"/>
            <a:ext cx="756000" cy="283626"/>
          </a:xfrm>
          <a:prstGeom prst="roundRect">
            <a:avLst>
              <a:gd name="adj" fmla="val 6714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数据模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" y="3929320"/>
            <a:ext cx="9143999" cy="124839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/>
          </a:p>
        </p:txBody>
      </p:sp>
      <p:grpSp>
        <p:nvGrpSpPr>
          <p:cNvPr id="3" name="组合 2"/>
          <p:cNvGrpSpPr/>
          <p:nvPr/>
        </p:nvGrpSpPr>
        <p:grpSpPr>
          <a:xfrm>
            <a:off x="911274" y="1635646"/>
            <a:ext cx="7442224" cy="2265160"/>
            <a:chOff x="911274" y="1621381"/>
            <a:chExt cx="7442224" cy="2740842"/>
          </a:xfrm>
        </p:grpSpPr>
        <p:sp>
          <p:nvSpPr>
            <p:cNvPr id="103" name="Rounded Rectangle 14">
              <a:extLst>
                <a:ext uri="{FF2B5EF4-FFF2-40B4-BE49-F238E27FC236}">
                  <a16:creationId xmlns:a16="http://schemas.microsoft.com/office/drawing/2014/main" id="{6BFC500F-3186-624F-8633-F7F6CA662358}"/>
                </a:ext>
              </a:extLst>
            </p:cNvPr>
            <p:cNvSpPr/>
            <p:nvPr/>
          </p:nvSpPr>
          <p:spPr>
            <a:xfrm>
              <a:off x="2471520" y="1849970"/>
              <a:ext cx="4060114" cy="2204973"/>
            </a:xfrm>
            <a:prstGeom prst="roundRect">
              <a:avLst>
                <a:gd name="adj" fmla="val 1158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4" name="圆角矩形 73">
              <a:extLst>
                <a:ext uri="{FF2B5EF4-FFF2-40B4-BE49-F238E27FC236}">
                  <a16:creationId xmlns:a16="http://schemas.microsoft.com/office/drawing/2014/main" id="{75CF627D-3A9E-EE46-87BE-9A91EB38CD50}"/>
                </a:ext>
              </a:extLst>
            </p:cNvPr>
            <p:cNvSpPr/>
            <p:nvPr/>
          </p:nvSpPr>
          <p:spPr>
            <a:xfrm>
              <a:off x="911853" y="1828799"/>
              <a:ext cx="1027078" cy="1289511"/>
            </a:xfrm>
            <a:prstGeom prst="roundRect">
              <a:avLst>
                <a:gd name="adj" fmla="val 3279"/>
              </a:avLst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zh-CN" altLang="en-US" sz="90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79" name="圆角矩形 78">
              <a:extLst>
                <a:ext uri="{FF2B5EF4-FFF2-40B4-BE49-F238E27FC236}">
                  <a16:creationId xmlns:a16="http://schemas.microsoft.com/office/drawing/2014/main" id="{D03E5DC9-15DD-FF45-AEF8-DA2030C4BF46}"/>
                </a:ext>
              </a:extLst>
            </p:cNvPr>
            <p:cNvSpPr/>
            <p:nvPr/>
          </p:nvSpPr>
          <p:spPr>
            <a:xfrm rot="16200000">
              <a:off x="4406388" y="316689"/>
              <a:ext cx="261818" cy="3578373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Portal</a:t>
              </a:r>
              <a:r>
                <a:rPr lang="zh-CN" altLang="en-US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子系统</a:t>
              </a:r>
            </a:p>
          </p:txBody>
        </p:sp>
        <p:sp>
          <p:nvSpPr>
            <p:cNvPr id="80" name="圆角矩形 46">
              <a:extLst>
                <a:ext uri="{FF2B5EF4-FFF2-40B4-BE49-F238E27FC236}">
                  <a16:creationId xmlns:a16="http://schemas.microsoft.com/office/drawing/2014/main" id="{79A81369-6984-3049-926A-08C56DE869BF}"/>
                </a:ext>
              </a:extLst>
            </p:cNvPr>
            <p:cNvSpPr/>
            <p:nvPr/>
          </p:nvSpPr>
          <p:spPr>
            <a:xfrm rot="16200000">
              <a:off x="3415915" y="1680545"/>
              <a:ext cx="261818" cy="1586710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r>
                <a:rPr lang="zh-CN" altLang="en-US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</a:t>
              </a:r>
              <a:r>
                <a:rPr lang="en-US" altLang="zh-CN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OCC </a:t>
              </a:r>
              <a:r>
                <a:rPr lang="zh-CN" altLang="en-US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子系统</a:t>
              </a:r>
            </a:p>
          </p:txBody>
        </p:sp>
        <p:sp>
          <p:nvSpPr>
            <p:cNvPr id="81" name="圆角矩形 46">
              <a:extLst>
                <a:ext uri="{FF2B5EF4-FFF2-40B4-BE49-F238E27FC236}">
                  <a16:creationId xmlns:a16="http://schemas.microsoft.com/office/drawing/2014/main" id="{4D177952-FB86-BC48-8A7F-73D1574FD9FF}"/>
                </a:ext>
              </a:extLst>
            </p:cNvPr>
            <p:cNvSpPr/>
            <p:nvPr/>
          </p:nvSpPr>
          <p:spPr>
            <a:xfrm rot="16200000">
              <a:off x="3394923" y="2127661"/>
              <a:ext cx="305026" cy="1587934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交易核心子系统</a:t>
              </a:r>
            </a:p>
          </p:txBody>
        </p:sp>
        <p:sp>
          <p:nvSpPr>
            <p:cNvPr id="83" name="圆角矩形 46">
              <a:extLst>
                <a:ext uri="{FF2B5EF4-FFF2-40B4-BE49-F238E27FC236}">
                  <a16:creationId xmlns:a16="http://schemas.microsoft.com/office/drawing/2014/main" id="{15576E87-0B1C-FC42-B24E-D88E6237809B}"/>
                </a:ext>
              </a:extLst>
            </p:cNvPr>
            <p:cNvSpPr/>
            <p:nvPr/>
          </p:nvSpPr>
          <p:spPr>
            <a:xfrm rot="16200000">
              <a:off x="4403930" y="3335830"/>
              <a:ext cx="240846" cy="1079013"/>
            </a:xfrm>
            <a:prstGeom prst="roundRect">
              <a:avLst>
                <a:gd name="adj" fmla="val 9226"/>
              </a:avLst>
            </a:prstGeom>
            <a:solidFill>
              <a:schemeClr val="bg1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营销管理子系统</a:t>
              </a:r>
              <a:endPara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4" name="圆角矩形 46">
              <a:extLst>
                <a:ext uri="{FF2B5EF4-FFF2-40B4-BE49-F238E27FC236}">
                  <a16:creationId xmlns:a16="http://schemas.microsoft.com/office/drawing/2014/main" id="{9BEF406A-D3A2-7C45-B707-B14F6F943354}"/>
                </a:ext>
              </a:extLst>
            </p:cNvPr>
            <p:cNvSpPr/>
            <p:nvPr/>
          </p:nvSpPr>
          <p:spPr>
            <a:xfrm rot="16200000">
              <a:off x="3206620" y="3301742"/>
              <a:ext cx="240846" cy="1147193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商户管理子系统</a:t>
              </a:r>
              <a:endPara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5" name="圆角矩形 46">
              <a:extLst>
                <a:ext uri="{FF2B5EF4-FFF2-40B4-BE49-F238E27FC236}">
                  <a16:creationId xmlns:a16="http://schemas.microsoft.com/office/drawing/2014/main" id="{CD4D04AF-96D1-1641-B8DC-82E25568FABC}"/>
                </a:ext>
              </a:extLst>
            </p:cNvPr>
            <p:cNvSpPr/>
            <p:nvPr/>
          </p:nvSpPr>
          <p:spPr>
            <a:xfrm rot="16200000">
              <a:off x="5238853" y="2552965"/>
              <a:ext cx="412069" cy="1745776"/>
            </a:xfrm>
            <a:prstGeom prst="roundRect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900" kern="0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</a:rPr>
                <a:t>收银台子系统</a:t>
              </a:r>
            </a:p>
          </p:txBody>
        </p:sp>
        <p:grpSp>
          <p:nvGrpSpPr>
            <p:cNvPr id="4" name="组合 3"/>
            <p:cNvGrpSpPr/>
            <p:nvPr/>
          </p:nvGrpSpPr>
          <p:grpSpPr>
            <a:xfrm>
              <a:off x="7263115" y="3839937"/>
              <a:ext cx="790209" cy="473849"/>
              <a:chOff x="7236296" y="1563638"/>
              <a:chExt cx="790209" cy="473849"/>
            </a:xfrm>
          </p:grpSpPr>
          <p:sp>
            <p:nvSpPr>
              <p:cNvPr id="88" name="圆角矩形 46">
                <a:extLst>
                  <a:ext uri="{FF2B5EF4-FFF2-40B4-BE49-F238E27FC236}">
                    <a16:creationId xmlns:a16="http://schemas.microsoft.com/office/drawing/2014/main" id="{742C677C-824F-A64C-868C-70C59F736E43}"/>
                  </a:ext>
                </a:extLst>
              </p:cNvPr>
              <p:cNvSpPr/>
              <p:nvPr/>
            </p:nvSpPr>
            <p:spPr>
              <a:xfrm rot="16200000">
                <a:off x="7358163" y="1464943"/>
                <a:ext cx="93161" cy="336893"/>
              </a:xfrm>
              <a:prstGeom prst="roundRect">
                <a:avLst/>
              </a:prstGeom>
              <a:solidFill>
                <a:schemeClr val="bg1">
                  <a:lumMod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eaVert" rtlCol="0" anchor="ctr"/>
              <a:lstStyle/>
              <a:p>
                <a:pPr algn="ctr"/>
                <a:endParaRPr lang="en-US" altLang="zh-CN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89" name="圆角矩形 46">
                <a:extLst>
                  <a:ext uri="{FF2B5EF4-FFF2-40B4-BE49-F238E27FC236}">
                    <a16:creationId xmlns:a16="http://schemas.microsoft.com/office/drawing/2014/main" id="{CC885B29-A48D-F74C-AE65-05ECD171140D}"/>
                  </a:ext>
                </a:extLst>
              </p:cNvPr>
              <p:cNvSpPr/>
              <p:nvPr/>
            </p:nvSpPr>
            <p:spPr>
              <a:xfrm rot="16200000">
                <a:off x="7358162" y="1640723"/>
                <a:ext cx="93162" cy="336893"/>
              </a:xfrm>
              <a:prstGeom prst="roundRect">
                <a:avLst/>
              </a:prstGeom>
              <a:solidFill>
                <a:schemeClr val="accent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eaVert" rtlCol="0" anchor="ctr"/>
              <a:lstStyle/>
              <a:p>
                <a:pPr algn="ctr"/>
                <a:endParaRPr lang="en-US" altLang="zh-CN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90" name="文本框 89">
                <a:extLst>
                  <a:ext uri="{FF2B5EF4-FFF2-40B4-BE49-F238E27FC236}">
                    <a16:creationId xmlns:a16="http://schemas.microsoft.com/office/drawing/2014/main" id="{25ECF136-559E-4440-A8CF-4B07874769E3}"/>
                  </a:ext>
                </a:extLst>
              </p:cNvPr>
              <p:cNvSpPr txBox="1"/>
              <p:nvPr/>
            </p:nvSpPr>
            <p:spPr>
              <a:xfrm>
                <a:off x="7616136" y="1563638"/>
                <a:ext cx="410369" cy="1119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zh-CN" altLang="en-US" sz="800" dirty="0">
                    <a:latin typeface="微软雅黑" pitchFamily="34" charset="-122"/>
                    <a:ea typeface="微软雅黑" pitchFamily="34" charset="-122"/>
                  </a:rPr>
                  <a:t>部分完成</a:t>
                </a:r>
              </a:p>
            </p:txBody>
          </p:sp>
          <p:sp>
            <p:nvSpPr>
              <p:cNvPr id="91" name="文本框 90">
                <a:extLst>
                  <a:ext uri="{FF2B5EF4-FFF2-40B4-BE49-F238E27FC236}">
                    <a16:creationId xmlns:a16="http://schemas.microsoft.com/office/drawing/2014/main" id="{7E76D4DE-5B3A-3B4E-B77B-0980A434E6CE}"/>
                  </a:ext>
                </a:extLst>
              </p:cNvPr>
              <p:cNvSpPr txBox="1"/>
              <p:nvPr/>
            </p:nvSpPr>
            <p:spPr>
              <a:xfrm>
                <a:off x="7616136" y="1751004"/>
                <a:ext cx="410369" cy="1119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zh-CN" altLang="en-US" sz="800" dirty="0">
                    <a:latin typeface="微软雅黑" pitchFamily="34" charset="-122"/>
                    <a:ea typeface="微软雅黑" pitchFamily="34" charset="-122"/>
                  </a:rPr>
                  <a:t>二期实现</a:t>
                </a:r>
              </a:p>
            </p:txBody>
          </p:sp>
          <p:sp>
            <p:nvSpPr>
              <p:cNvPr id="92" name="圆角矩形 46">
                <a:extLst>
                  <a:ext uri="{FF2B5EF4-FFF2-40B4-BE49-F238E27FC236}">
                    <a16:creationId xmlns:a16="http://schemas.microsoft.com/office/drawing/2014/main" id="{164F22D2-4C26-3E4A-976B-18552FBDAD38}"/>
                  </a:ext>
                </a:extLst>
              </p:cNvPr>
              <p:cNvSpPr/>
              <p:nvPr/>
            </p:nvSpPr>
            <p:spPr>
              <a:xfrm rot="16200000">
                <a:off x="7358162" y="1803703"/>
                <a:ext cx="93162" cy="336893"/>
              </a:xfrm>
              <a:prstGeom prst="roundRect">
                <a:avLst/>
              </a:prstGeom>
              <a:noFill/>
              <a:ln w="3175">
                <a:solidFill>
                  <a:schemeClr val="bg1">
                    <a:lumMod val="6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eaVert" rtlCol="0" anchor="ctr"/>
              <a:lstStyle/>
              <a:p>
                <a:pPr algn="ctr"/>
                <a:endParaRPr lang="en-US" altLang="zh-CN" sz="900" kern="0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93" name="文本框 92">
                <a:extLst>
                  <a:ext uri="{FF2B5EF4-FFF2-40B4-BE49-F238E27FC236}">
                    <a16:creationId xmlns:a16="http://schemas.microsoft.com/office/drawing/2014/main" id="{D5E1DB0C-2110-174D-B598-F0B2A5855079}"/>
                  </a:ext>
                </a:extLst>
              </p:cNvPr>
              <p:cNvSpPr txBox="1"/>
              <p:nvPr/>
            </p:nvSpPr>
            <p:spPr>
              <a:xfrm>
                <a:off x="7616136" y="1925568"/>
                <a:ext cx="410369" cy="1119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zh-CN" altLang="en-US" sz="800" dirty="0">
                    <a:latin typeface="微软雅黑" pitchFamily="34" charset="-122"/>
                    <a:ea typeface="微软雅黑" pitchFamily="34" charset="-122"/>
                  </a:rPr>
                  <a:t>三期实现</a:t>
                </a:r>
              </a:p>
            </p:txBody>
          </p:sp>
        </p:grpSp>
        <p:sp>
          <p:nvSpPr>
            <p:cNvPr id="105" name="文本框 104">
              <a:extLst>
                <a:ext uri="{FF2B5EF4-FFF2-40B4-BE49-F238E27FC236}">
                  <a16:creationId xmlns:a16="http://schemas.microsoft.com/office/drawing/2014/main" id="{43D6B1BE-B79F-CD47-8AB5-9B9C491475D8}"/>
                </a:ext>
              </a:extLst>
            </p:cNvPr>
            <p:cNvSpPr txBox="1"/>
            <p:nvPr/>
          </p:nvSpPr>
          <p:spPr>
            <a:xfrm>
              <a:off x="4111424" y="1788136"/>
              <a:ext cx="743793" cy="13989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1000" b="1" dirty="0">
                  <a:solidFill>
                    <a:srgbClr val="C00000"/>
                  </a:solidFill>
                  <a:latin typeface="微软雅黑" pitchFamily="34" charset="-122"/>
                  <a:ea typeface="微软雅黑" pitchFamily="34" charset="-122"/>
                </a:rPr>
                <a:t>   支付中心   </a:t>
              </a:r>
            </a:p>
          </p:txBody>
        </p:sp>
        <p:sp>
          <p:nvSpPr>
            <p:cNvPr id="106" name="文本框 105">
              <a:extLst>
                <a:ext uri="{FF2B5EF4-FFF2-40B4-BE49-F238E27FC236}">
                  <a16:creationId xmlns:a16="http://schemas.microsoft.com/office/drawing/2014/main" id="{4C6208F9-71EA-2F43-A30D-92E43060E6A2}"/>
                </a:ext>
              </a:extLst>
            </p:cNvPr>
            <p:cNvSpPr txBox="1"/>
            <p:nvPr/>
          </p:nvSpPr>
          <p:spPr>
            <a:xfrm>
              <a:off x="1501583" y="2974604"/>
              <a:ext cx="205184" cy="1119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商城</a:t>
              </a:r>
            </a:p>
          </p:txBody>
        </p:sp>
        <p:grpSp>
          <p:nvGrpSpPr>
            <p:cNvPr id="108" name="组合 107">
              <a:extLst>
                <a:ext uri="{FF2B5EF4-FFF2-40B4-BE49-F238E27FC236}">
                  <a16:creationId xmlns:a16="http://schemas.microsoft.com/office/drawing/2014/main" id="{95BCD4EC-9CDB-F84F-819A-6FA618B18F08}"/>
                </a:ext>
              </a:extLst>
            </p:cNvPr>
            <p:cNvGrpSpPr/>
            <p:nvPr/>
          </p:nvGrpSpPr>
          <p:grpSpPr>
            <a:xfrm>
              <a:off x="1482189" y="2737497"/>
              <a:ext cx="255245" cy="231666"/>
              <a:chOff x="338558" y="1176298"/>
              <a:chExt cx="567434" cy="486647"/>
            </a:xfrm>
          </p:grpSpPr>
          <p:sp>
            <p:nvSpPr>
              <p:cNvPr id="109" name="椭圆 108">
                <a:extLst>
                  <a:ext uri="{FF2B5EF4-FFF2-40B4-BE49-F238E27FC236}">
                    <a16:creationId xmlns:a16="http://schemas.microsoft.com/office/drawing/2014/main" id="{F7F085BC-61B5-274D-BF69-C451FC5274C4}"/>
                  </a:ext>
                </a:extLst>
              </p:cNvPr>
              <p:cNvSpPr/>
              <p:nvPr/>
            </p:nvSpPr>
            <p:spPr>
              <a:xfrm>
                <a:off x="338558" y="1176298"/>
                <a:ext cx="567434" cy="486647"/>
              </a:xfrm>
              <a:prstGeom prst="ellipse">
                <a:avLst/>
              </a:prstGeom>
              <a:solidFill>
                <a:srgbClr val="FFE1E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5659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31318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6977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62636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28295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940175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596765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5253355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00"/>
              </a:p>
            </p:txBody>
          </p:sp>
          <p:sp>
            <p:nvSpPr>
              <p:cNvPr id="110" name="Freeform 23">
                <a:extLst>
                  <a:ext uri="{FF2B5EF4-FFF2-40B4-BE49-F238E27FC236}">
                    <a16:creationId xmlns:a16="http://schemas.microsoft.com/office/drawing/2014/main" id="{FE02225C-98AC-0442-89B7-5D168DC110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6992" y="1289378"/>
                <a:ext cx="265507" cy="260490"/>
              </a:xfrm>
              <a:custGeom>
                <a:avLst/>
                <a:gdLst>
                  <a:gd name="T0" fmla="*/ 498453 w 427"/>
                  <a:gd name="T1" fmla="*/ 63687 h 417"/>
                  <a:gd name="T2" fmla="*/ 498453 w 427"/>
                  <a:gd name="T3" fmla="*/ 63687 h 417"/>
                  <a:gd name="T4" fmla="*/ 424164 w 427"/>
                  <a:gd name="T5" fmla="*/ 10815 h 417"/>
                  <a:gd name="T6" fmla="*/ 393011 w 427"/>
                  <a:gd name="T7" fmla="*/ 0 h 417"/>
                  <a:gd name="T8" fmla="*/ 106640 w 427"/>
                  <a:gd name="T9" fmla="*/ 0 h 417"/>
                  <a:gd name="T10" fmla="*/ 74289 w 427"/>
                  <a:gd name="T11" fmla="*/ 10815 h 417"/>
                  <a:gd name="T12" fmla="*/ 10784 w 427"/>
                  <a:gd name="T13" fmla="*/ 63687 h 417"/>
                  <a:gd name="T14" fmla="*/ 0 w 427"/>
                  <a:gd name="T15" fmla="*/ 96132 h 417"/>
                  <a:gd name="T16" fmla="*/ 52721 w 427"/>
                  <a:gd name="T17" fmla="*/ 479457 h 417"/>
                  <a:gd name="T18" fmla="*/ 86271 w 427"/>
                  <a:gd name="T19" fmla="*/ 499885 h 417"/>
                  <a:gd name="T20" fmla="*/ 424164 w 427"/>
                  <a:gd name="T21" fmla="*/ 499885 h 417"/>
                  <a:gd name="T22" fmla="*/ 456516 w 427"/>
                  <a:gd name="T23" fmla="*/ 479457 h 417"/>
                  <a:gd name="T24" fmla="*/ 510435 w 427"/>
                  <a:gd name="T25" fmla="*/ 96132 h 417"/>
                  <a:gd name="T26" fmla="*/ 498453 w 427"/>
                  <a:gd name="T27" fmla="*/ 63687 h 417"/>
                  <a:gd name="T28" fmla="*/ 255217 w 427"/>
                  <a:gd name="T29" fmla="*/ 319638 h 417"/>
                  <a:gd name="T30" fmla="*/ 255217 w 427"/>
                  <a:gd name="T31" fmla="*/ 319638 h 417"/>
                  <a:gd name="T32" fmla="*/ 128208 w 427"/>
                  <a:gd name="T33" fmla="*/ 149004 h 417"/>
                  <a:gd name="T34" fmla="*/ 191713 w 427"/>
                  <a:gd name="T35" fmla="*/ 149004 h 417"/>
                  <a:gd name="T36" fmla="*/ 255217 w 427"/>
                  <a:gd name="T37" fmla="*/ 266766 h 417"/>
                  <a:gd name="T38" fmla="*/ 318722 w 427"/>
                  <a:gd name="T39" fmla="*/ 149004 h 417"/>
                  <a:gd name="T40" fmla="*/ 371443 w 427"/>
                  <a:gd name="T41" fmla="*/ 149004 h 417"/>
                  <a:gd name="T42" fmla="*/ 255217 w 427"/>
                  <a:gd name="T43" fmla="*/ 319638 h 417"/>
                  <a:gd name="T44" fmla="*/ 43135 w 427"/>
                  <a:gd name="T45" fmla="*/ 96132 h 417"/>
                  <a:gd name="T46" fmla="*/ 43135 w 427"/>
                  <a:gd name="T47" fmla="*/ 96132 h 417"/>
                  <a:gd name="T48" fmla="*/ 106640 w 427"/>
                  <a:gd name="T49" fmla="*/ 32444 h 417"/>
                  <a:gd name="T50" fmla="*/ 393011 w 427"/>
                  <a:gd name="T51" fmla="*/ 32444 h 417"/>
                  <a:gd name="T52" fmla="*/ 468498 w 427"/>
                  <a:gd name="T53" fmla="*/ 96132 h 417"/>
                  <a:gd name="T54" fmla="*/ 43135 w 427"/>
                  <a:gd name="T55" fmla="*/ 96132 h 417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27" h="417">
                    <a:moveTo>
                      <a:pt x="416" y="53"/>
                    </a:moveTo>
                    <a:lnTo>
                      <a:pt x="416" y="53"/>
                    </a:lnTo>
                    <a:cubicBezTo>
                      <a:pt x="408" y="44"/>
                      <a:pt x="363" y="9"/>
                      <a:pt x="354" y="9"/>
                    </a:cubicBezTo>
                    <a:cubicBezTo>
                      <a:pt x="354" y="0"/>
                      <a:pt x="337" y="0"/>
                      <a:pt x="328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89" y="0"/>
                      <a:pt x="72" y="0"/>
                      <a:pt x="62" y="9"/>
                    </a:cubicBezTo>
                    <a:cubicBezTo>
                      <a:pt x="62" y="9"/>
                      <a:pt x="18" y="44"/>
                      <a:pt x="9" y="53"/>
                    </a:cubicBezTo>
                    <a:cubicBezTo>
                      <a:pt x="0" y="53"/>
                      <a:pt x="0" y="62"/>
                      <a:pt x="0" y="80"/>
                    </a:cubicBezTo>
                    <a:cubicBezTo>
                      <a:pt x="0" y="88"/>
                      <a:pt x="44" y="399"/>
                      <a:pt x="44" y="399"/>
                    </a:cubicBezTo>
                    <a:cubicBezTo>
                      <a:pt x="53" y="407"/>
                      <a:pt x="62" y="416"/>
                      <a:pt x="72" y="416"/>
                    </a:cubicBezTo>
                    <a:cubicBezTo>
                      <a:pt x="354" y="416"/>
                      <a:pt x="354" y="416"/>
                      <a:pt x="354" y="416"/>
                    </a:cubicBezTo>
                    <a:cubicBezTo>
                      <a:pt x="363" y="416"/>
                      <a:pt x="372" y="407"/>
                      <a:pt x="381" y="399"/>
                    </a:cubicBezTo>
                    <a:cubicBezTo>
                      <a:pt x="381" y="399"/>
                      <a:pt x="426" y="88"/>
                      <a:pt x="426" y="80"/>
                    </a:cubicBezTo>
                    <a:cubicBezTo>
                      <a:pt x="426" y="62"/>
                      <a:pt x="416" y="53"/>
                      <a:pt x="416" y="53"/>
                    </a:cubicBezTo>
                    <a:close/>
                    <a:moveTo>
                      <a:pt x="213" y="266"/>
                    </a:moveTo>
                    <a:lnTo>
                      <a:pt x="213" y="266"/>
                    </a:lnTo>
                    <a:cubicBezTo>
                      <a:pt x="133" y="266"/>
                      <a:pt x="116" y="150"/>
                      <a:pt x="107" y="124"/>
                    </a:cubicBezTo>
                    <a:cubicBezTo>
                      <a:pt x="160" y="124"/>
                      <a:pt x="160" y="124"/>
                      <a:pt x="160" y="124"/>
                    </a:cubicBezTo>
                    <a:cubicBezTo>
                      <a:pt x="160" y="159"/>
                      <a:pt x="178" y="222"/>
                      <a:pt x="213" y="222"/>
                    </a:cubicBezTo>
                    <a:cubicBezTo>
                      <a:pt x="248" y="222"/>
                      <a:pt x="257" y="159"/>
                      <a:pt x="266" y="124"/>
                    </a:cubicBezTo>
                    <a:cubicBezTo>
                      <a:pt x="310" y="124"/>
                      <a:pt x="310" y="124"/>
                      <a:pt x="310" y="124"/>
                    </a:cubicBezTo>
                    <a:cubicBezTo>
                      <a:pt x="310" y="150"/>
                      <a:pt x="293" y="266"/>
                      <a:pt x="213" y="266"/>
                    </a:cubicBezTo>
                    <a:close/>
                    <a:moveTo>
                      <a:pt x="36" y="80"/>
                    </a:moveTo>
                    <a:lnTo>
                      <a:pt x="36" y="80"/>
                    </a:lnTo>
                    <a:cubicBezTo>
                      <a:pt x="89" y="27"/>
                      <a:pt x="89" y="27"/>
                      <a:pt x="89" y="27"/>
                    </a:cubicBezTo>
                    <a:cubicBezTo>
                      <a:pt x="328" y="27"/>
                      <a:pt x="328" y="27"/>
                      <a:pt x="328" y="27"/>
                    </a:cubicBezTo>
                    <a:cubicBezTo>
                      <a:pt x="391" y="80"/>
                      <a:pt x="391" y="80"/>
                      <a:pt x="391" y="80"/>
                    </a:cubicBezTo>
                    <a:lnTo>
                      <a:pt x="36" y="80"/>
                    </a:lnTo>
                    <a:close/>
                  </a:path>
                </a:pathLst>
              </a:custGeom>
              <a:solidFill>
                <a:srgbClr val="BD392F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pPr>
                  <a:defRPr/>
                </a:pPr>
                <a:endParaRPr lang="zh-CN" altLang="en-US" sz="1000"/>
              </a:p>
            </p:txBody>
          </p:sp>
        </p:grpSp>
        <p:sp>
          <p:nvSpPr>
            <p:cNvPr id="107" name="文本框 106">
              <a:extLst>
                <a:ext uri="{FF2B5EF4-FFF2-40B4-BE49-F238E27FC236}">
                  <a16:creationId xmlns:a16="http://schemas.microsoft.com/office/drawing/2014/main" id="{C56B387A-2B97-2546-9640-124982D400C7}"/>
                </a:ext>
              </a:extLst>
            </p:cNvPr>
            <p:cNvSpPr txBox="1"/>
            <p:nvPr/>
          </p:nvSpPr>
          <p:spPr>
            <a:xfrm>
              <a:off x="1506600" y="2232689"/>
              <a:ext cx="205184" cy="1119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线下</a:t>
              </a:r>
            </a:p>
          </p:txBody>
        </p:sp>
        <p:sp>
          <p:nvSpPr>
            <p:cNvPr id="111" name="椭圆 110">
              <a:extLst>
                <a:ext uri="{FF2B5EF4-FFF2-40B4-BE49-F238E27FC236}">
                  <a16:creationId xmlns:a16="http://schemas.microsoft.com/office/drawing/2014/main" id="{1F3CB637-DA1C-564E-BEC3-10614F01470A}"/>
                </a:ext>
              </a:extLst>
            </p:cNvPr>
            <p:cNvSpPr/>
            <p:nvPr/>
          </p:nvSpPr>
          <p:spPr>
            <a:xfrm>
              <a:off x="1496781" y="2000145"/>
              <a:ext cx="243873" cy="21488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5659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31318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6977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62636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28295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940175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596765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5253355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000"/>
            </a:p>
          </p:txBody>
        </p:sp>
        <p:pic>
          <p:nvPicPr>
            <p:cNvPr id="112" name="Picture 4" descr="商店">
              <a:extLst>
                <a:ext uri="{FF2B5EF4-FFF2-40B4-BE49-F238E27FC236}">
                  <a16:creationId xmlns:a16="http://schemas.microsoft.com/office/drawing/2014/main" id="{DDD038EF-AC6B-7340-8CEB-81267376F9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0149" y="2057799"/>
              <a:ext cx="177136" cy="901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4EB7E4C5-85BE-874D-97DC-4079B9F16BE3}"/>
                </a:ext>
              </a:extLst>
            </p:cNvPr>
            <p:cNvGrpSpPr/>
            <p:nvPr/>
          </p:nvGrpSpPr>
          <p:grpSpPr>
            <a:xfrm>
              <a:off x="1039272" y="1972318"/>
              <a:ext cx="264713" cy="348089"/>
              <a:chOff x="1689906" y="2214871"/>
              <a:chExt cx="264713" cy="382898"/>
            </a:xfrm>
          </p:grpSpPr>
          <p:sp>
            <p:nvSpPr>
              <p:cNvPr id="113" name="椭圆 112">
                <a:extLst>
                  <a:ext uri="{FF2B5EF4-FFF2-40B4-BE49-F238E27FC236}">
                    <a16:creationId xmlns:a16="http://schemas.microsoft.com/office/drawing/2014/main" id="{BF089360-3B9D-D643-8656-CE988C901B63}"/>
                  </a:ext>
                </a:extLst>
              </p:cNvPr>
              <p:cNvSpPr/>
              <p:nvPr/>
            </p:nvSpPr>
            <p:spPr>
              <a:xfrm>
                <a:off x="1689906" y="2214871"/>
                <a:ext cx="264713" cy="249726"/>
              </a:xfrm>
              <a:prstGeom prst="ellipse">
                <a:avLst/>
              </a:prstGeom>
              <a:solidFill>
                <a:srgbClr val="FFE1E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5659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31318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6977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62636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28295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940175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596765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5253355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14" name="KSO_Shape">
                <a:extLst>
                  <a:ext uri="{FF2B5EF4-FFF2-40B4-BE49-F238E27FC236}">
                    <a16:creationId xmlns:a16="http://schemas.microsoft.com/office/drawing/2014/main" id="{5312C747-3136-5D46-B3C2-D1045C60A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8137" y="2292818"/>
                <a:ext cx="128250" cy="110208"/>
              </a:xfrm>
              <a:custGeom>
                <a:avLst/>
                <a:gdLst>
                  <a:gd name="T0" fmla="*/ 332222 w 2301876"/>
                  <a:gd name="T1" fmla="*/ 1410232 h 1941513"/>
                  <a:gd name="T2" fmla="*/ 321717 w 2301876"/>
                  <a:gd name="T3" fmla="*/ 1470415 h 1941513"/>
                  <a:gd name="T4" fmla="*/ 382384 w 2301876"/>
                  <a:gd name="T5" fmla="*/ 1525343 h 1941513"/>
                  <a:gd name="T6" fmla="*/ 696485 w 2301876"/>
                  <a:gd name="T7" fmla="*/ 1509573 h 1941513"/>
                  <a:gd name="T8" fmla="*/ 723010 w 2301876"/>
                  <a:gd name="T9" fmla="*/ 1444398 h 1941513"/>
                  <a:gd name="T10" fmla="*/ 671273 w 2301876"/>
                  <a:gd name="T11" fmla="*/ 1380797 h 1941513"/>
                  <a:gd name="T12" fmla="*/ 1348867 w 2301876"/>
                  <a:gd name="T13" fmla="*/ 1247408 h 1941513"/>
                  <a:gd name="T14" fmla="*/ 1327043 w 2301876"/>
                  <a:gd name="T15" fmla="*/ 1320445 h 1941513"/>
                  <a:gd name="T16" fmla="*/ 1593934 w 2301876"/>
                  <a:gd name="T17" fmla="*/ 1356438 h 1941513"/>
                  <a:gd name="T18" fmla="*/ 1647838 w 2301876"/>
                  <a:gd name="T19" fmla="*/ 1303105 h 1941513"/>
                  <a:gd name="T20" fmla="*/ 1606030 w 2301876"/>
                  <a:gd name="T21" fmla="*/ 1239789 h 1941513"/>
                  <a:gd name="T22" fmla="*/ 1529191 w 2301876"/>
                  <a:gd name="T23" fmla="*/ 516517 h 1941513"/>
                  <a:gd name="T24" fmla="*/ 1584982 w 2301876"/>
                  <a:gd name="T25" fmla="*/ 576970 h 1941513"/>
                  <a:gd name="T26" fmla="*/ 1601035 w 2301876"/>
                  <a:gd name="T27" fmla="*/ 667649 h 1941513"/>
                  <a:gd name="T28" fmla="*/ 1640510 w 2301876"/>
                  <a:gd name="T29" fmla="*/ 716799 h 1941513"/>
                  <a:gd name="T30" fmla="*/ 1583140 w 2301876"/>
                  <a:gd name="T31" fmla="*/ 840071 h 1941513"/>
                  <a:gd name="T32" fmla="*/ 1691827 w 2301876"/>
                  <a:gd name="T33" fmla="*/ 916820 h 1941513"/>
                  <a:gd name="T34" fmla="*/ 1229710 w 2301876"/>
                  <a:gd name="T35" fmla="*/ 1106063 h 1941513"/>
                  <a:gd name="T36" fmla="*/ 1284448 w 2301876"/>
                  <a:gd name="T37" fmla="*/ 909460 h 1941513"/>
                  <a:gd name="T38" fmla="*/ 1396556 w 2301876"/>
                  <a:gd name="T39" fmla="*/ 836654 h 1941513"/>
                  <a:gd name="T40" fmla="*/ 1335239 w 2301876"/>
                  <a:gd name="T41" fmla="*/ 712857 h 1941513"/>
                  <a:gd name="T42" fmla="*/ 1370240 w 2301876"/>
                  <a:gd name="T43" fmla="*/ 660815 h 1941513"/>
                  <a:gd name="T44" fmla="*/ 1388398 w 2301876"/>
                  <a:gd name="T45" fmla="*/ 571451 h 1941513"/>
                  <a:gd name="T46" fmla="*/ 1446031 w 2301876"/>
                  <a:gd name="T47" fmla="*/ 514152 h 1941513"/>
                  <a:gd name="T48" fmla="*/ 570227 w 2301876"/>
                  <a:gd name="T49" fmla="*/ 477627 h 1941513"/>
                  <a:gd name="T50" fmla="*/ 641756 w 2301876"/>
                  <a:gd name="T51" fmla="*/ 549062 h 1941513"/>
                  <a:gd name="T52" fmla="*/ 661216 w 2301876"/>
                  <a:gd name="T53" fmla="*/ 657005 h 1941513"/>
                  <a:gd name="T54" fmla="*/ 633078 w 2301876"/>
                  <a:gd name="T55" fmla="*/ 739471 h 1941513"/>
                  <a:gd name="T56" fmla="*/ 574697 w 2301876"/>
                  <a:gd name="T57" fmla="*/ 792786 h 1941513"/>
                  <a:gd name="T58" fmla="*/ 708552 w 2301876"/>
                  <a:gd name="T59" fmla="*/ 915697 h 1941513"/>
                  <a:gd name="T60" fmla="*/ 815320 w 2301876"/>
                  <a:gd name="T61" fmla="*/ 1036508 h 1941513"/>
                  <a:gd name="T62" fmla="*/ 222836 w 2301876"/>
                  <a:gd name="T63" fmla="*/ 1047276 h 1941513"/>
                  <a:gd name="T64" fmla="*/ 324870 w 2301876"/>
                  <a:gd name="T65" fmla="*/ 922526 h 1941513"/>
                  <a:gd name="T66" fmla="*/ 473189 w 2301876"/>
                  <a:gd name="T67" fmla="*/ 794886 h 1941513"/>
                  <a:gd name="T68" fmla="*/ 413493 w 2301876"/>
                  <a:gd name="T69" fmla="*/ 744461 h 1941513"/>
                  <a:gd name="T70" fmla="*/ 382462 w 2301876"/>
                  <a:gd name="T71" fmla="*/ 663570 h 1941513"/>
                  <a:gd name="T72" fmla="*/ 397978 w 2301876"/>
                  <a:gd name="T73" fmla="*/ 556154 h 1941513"/>
                  <a:gd name="T74" fmla="*/ 466878 w 2301876"/>
                  <a:gd name="T75" fmla="*/ 480778 h 1941513"/>
                  <a:gd name="T76" fmla="*/ 140242 w 2301876"/>
                  <a:gd name="T77" fmla="*/ 134558 h 1941513"/>
                  <a:gd name="T78" fmla="*/ 133677 w 2301876"/>
                  <a:gd name="T79" fmla="*/ 1210760 h 1941513"/>
                  <a:gd name="T80" fmla="*/ 198545 w 2301876"/>
                  <a:gd name="T81" fmla="*/ 1290654 h 1941513"/>
                  <a:gd name="T82" fmla="*/ 905010 w 2301876"/>
                  <a:gd name="T83" fmla="*/ 1223901 h 1941513"/>
                  <a:gd name="T84" fmla="*/ 906061 w 2301876"/>
                  <a:gd name="T85" fmla="*/ 137186 h 1941513"/>
                  <a:gd name="T86" fmla="*/ 1795088 w 2301876"/>
                  <a:gd name="T87" fmla="*/ 130835 h 1941513"/>
                  <a:gd name="T88" fmla="*/ 1869239 w 2301876"/>
                  <a:gd name="T89" fmla="*/ 166040 h 1941513"/>
                  <a:gd name="T90" fmla="*/ 1904211 w 2301876"/>
                  <a:gd name="T91" fmla="*/ 240391 h 1941513"/>
                  <a:gd name="T92" fmla="*/ 1879757 w 2301876"/>
                  <a:gd name="T93" fmla="*/ 1330166 h 1941513"/>
                  <a:gd name="T94" fmla="*/ 1769057 w 2301876"/>
                  <a:gd name="T95" fmla="*/ 1410033 h 1941513"/>
                  <a:gd name="T96" fmla="*/ 1237904 w 2301876"/>
                  <a:gd name="T97" fmla="*/ 1415550 h 1941513"/>
                  <a:gd name="T98" fmla="*/ 1189785 w 2301876"/>
                  <a:gd name="T99" fmla="*/ 1139429 h 1941513"/>
                  <a:gd name="T100" fmla="*/ 1756435 w 2301876"/>
                  <a:gd name="T101" fmla="*/ 1159921 h 1941513"/>
                  <a:gd name="T102" fmla="*/ 1799821 w 2301876"/>
                  <a:gd name="T103" fmla="*/ 1088198 h 1941513"/>
                  <a:gd name="T104" fmla="*/ 898445 w 2301876"/>
                  <a:gd name="T105" fmla="*/ 262 h 1941513"/>
                  <a:gd name="T106" fmla="*/ 992990 w 2301876"/>
                  <a:gd name="T107" fmla="*/ 39421 h 1941513"/>
                  <a:gd name="T108" fmla="*/ 1041313 w 2301876"/>
                  <a:gd name="T109" fmla="*/ 129302 h 1941513"/>
                  <a:gd name="T110" fmla="*/ 1017414 w 2301876"/>
                  <a:gd name="T111" fmla="*/ 1483030 h 1941513"/>
                  <a:gd name="T112" fmla="*/ 887939 w 2301876"/>
                  <a:gd name="T113" fmla="*/ 1588417 h 1941513"/>
                  <a:gd name="T114" fmla="*/ 200909 w 2301876"/>
                  <a:gd name="T115" fmla="*/ 1599454 h 1941513"/>
                  <a:gd name="T116" fmla="*/ 45959 w 2301876"/>
                  <a:gd name="T117" fmla="*/ 1513779 h 1941513"/>
                  <a:gd name="T118" fmla="*/ 0 w 2301876"/>
                  <a:gd name="T119" fmla="*/ 152429 h 1941513"/>
                  <a:gd name="T120" fmla="*/ 34667 w 2301876"/>
                  <a:gd name="T121" fmla="*/ 55452 h 1941513"/>
                  <a:gd name="T122" fmla="*/ 121596 w 2301876"/>
                  <a:gd name="T123" fmla="*/ 2891 h 194151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2301876" h="1941513">
                    <a:moveTo>
                      <a:pt x="475693" y="1664563"/>
                    </a:moveTo>
                    <a:lnTo>
                      <a:pt x="471250" y="1664880"/>
                    </a:lnTo>
                    <a:lnTo>
                      <a:pt x="466490" y="1665198"/>
                    </a:lnTo>
                    <a:lnTo>
                      <a:pt x="462047" y="1665515"/>
                    </a:lnTo>
                    <a:lnTo>
                      <a:pt x="457605" y="1666468"/>
                    </a:lnTo>
                    <a:lnTo>
                      <a:pt x="453162" y="1667421"/>
                    </a:lnTo>
                    <a:lnTo>
                      <a:pt x="449354" y="1668691"/>
                    </a:lnTo>
                    <a:lnTo>
                      <a:pt x="440786" y="1671550"/>
                    </a:lnTo>
                    <a:lnTo>
                      <a:pt x="433170" y="1675679"/>
                    </a:lnTo>
                    <a:lnTo>
                      <a:pt x="425553" y="1680125"/>
                    </a:lnTo>
                    <a:lnTo>
                      <a:pt x="418572" y="1685207"/>
                    </a:lnTo>
                    <a:lnTo>
                      <a:pt x="412542" y="1691241"/>
                    </a:lnTo>
                    <a:lnTo>
                      <a:pt x="406513" y="1697276"/>
                    </a:lnTo>
                    <a:lnTo>
                      <a:pt x="401435" y="1704263"/>
                    </a:lnTo>
                    <a:lnTo>
                      <a:pt x="396993" y="1711886"/>
                    </a:lnTo>
                    <a:lnTo>
                      <a:pt x="392867" y="1719508"/>
                    </a:lnTo>
                    <a:lnTo>
                      <a:pt x="390011" y="1728083"/>
                    </a:lnTo>
                    <a:lnTo>
                      <a:pt x="388742" y="1732212"/>
                    </a:lnTo>
                    <a:lnTo>
                      <a:pt x="387790" y="1736341"/>
                    </a:lnTo>
                    <a:lnTo>
                      <a:pt x="386838" y="1740787"/>
                    </a:lnTo>
                    <a:lnTo>
                      <a:pt x="386203" y="1745552"/>
                    </a:lnTo>
                    <a:lnTo>
                      <a:pt x="385886" y="1749998"/>
                    </a:lnTo>
                    <a:lnTo>
                      <a:pt x="385886" y="1754444"/>
                    </a:lnTo>
                    <a:lnTo>
                      <a:pt x="385886" y="1759209"/>
                    </a:lnTo>
                    <a:lnTo>
                      <a:pt x="386203" y="1763655"/>
                    </a:lnTo>
                    <a:lnTo>
                      <a:pt x="386838" y="1768419"/>
                    </a:lnTo>
                    <a:lnTo>
                      <a:pt x="387790" y="1772865"/>
                    </a:lnTo>
                    <a:lnTo>
                      <a:pt x="388742" y="1776994"/>
                    </a:lnTo>
                    <a:lnTo>
                      <a:pt x="390011" y="1781441"/>
                    </a:lnTo>
                    <a:lnTo>
                      <a:pt x="392867" y="1789698"/>
                    </a:lnTo>
                    <a:lnTo>
                      <a:pt x="396993" y="1797639"/>
                    </a:lnTo>
                    <a:lnTo>
                      <a:pt x="401435" y="1804943"/>
                    </a:lnTo>
                    <a:lnTo>
                      <a:pt x="406513" y="1812248"/>
                    </a:lnTo>
                    <a:lnTo>
                      <a:pt x="412542" y="1818283"/>
                    </a:lnTo>
                    <a:lnTo>
                      <a:pt x="418572" y="1824317"/>
                    </a:lnTo>
                    <a:lnTo>
                      <a:pt x="425553" y="1829399"/>
                    </a:lnTo>
                    <a:lnTo>
                      <a:pt x="433170" y="1833845"/>
                    </a:lnTo>
                    <a:lnTo>
                      <a:pt x="440786" y="1837657"/>
                    </a:lnTo>
                    <a:lnTo>
                      <a:pt x="449354" y="1840515"/>
                    </a:lnTo>
                    <a:lnTo>
                      <a:pt x="453162" y="1842103"/>
                    </a:lnTo>
                    <a:lnTo>
                      <a:pt x="457605" y="1842738"/>
                    </a:lnTo>
                    <a:lnTo>
                      <a:pt x="462047" y="1843374"/>
                    </a:lnTo>
                    <a:lnTo>
                      <a:pt x="466490" y="1844326"/>
                    </a:lnTo>
                    <a:lnTo>
                      <a:pt x="471250" y="1844644"/>
                    </a:lnTo>
                    <a:lnTo>
                      <a:pt x="475693" y="1844644"/>
                    </a:lnTo>
                    <a:lnTo>
                      <a:pt x="784465" y="1844644"/>
                    </a:lnTo>
                    <a:lnTo>
                      <a:pt x="788908" y="1844644"/>
                    </a:lnTo>
                    <a:lnTo>
                      <a:pt x="793668" y="1844326"/>
                    </a:lnTo>
                    <a:lnTo>
                      <a:pt x="798111" y="1843374"/>
                    </a:lnTo>
                    <a:lnTo>
                      <a:pt x="802553" y="1842738"/>
                    </a:lnTo>
                    <a:lnTo>
                      <a:pt x="806996" y="1842103"/>
                    </a:lnTo>
                    <a:lnTo>
                      <a:pt x="811122" y="1840515"/>
                    </a:lnTo>
                    <a:lnTo>
                      <a:pt x="819690" y="1837657"/>
                    </a:lnTo>
                    <a:lnTo>
                      <a:pt x="827306" y="1833845"/>
                    </a:lnTo>
                    <a:lnTo>
                      <a:pt x="834605" y="1829399"/>
                    </a:lnTo>
                    <a:lnTo>
                      <a:pt x="841586" y="1824317"/>
                    </a:lnTo>
                    <a:lnTo>
                      <a:pt x="847933" y="1818283"/>
                    </a:lnTo>
                    <a:lnTo>
                      <a:pt x="853963" y="1812248"/>
                    </a:lnTo>
                    <a:lnTo>
                      <a:pt x="859040" y="1804943"/>
                    </a:lnTo>
                    <a:lnTo>
                      <a:pt x="863483" y="1797639"/>
                    </a:lnTo>
                    <a:lnTo>
                      <a:pt x="867608" y="1789698"/>
                    </a:lnTo>
                    <a:lnTo>
                      <a:pt x="870464" y="1781441"/>
                    </a:lnTo>
                    <a:lnTo>
                      <a:pt x="871734" y="1776994"/>
                    </a:lnTo>
                    <a:lnTo>
                      <a:pt x="872686" y="1772865"/>
                    </a:lnTo>
                    <a:lnTo>
                      <a:pt x="873320" y="1768419"/>
                    </a:lnTo>
                    <a:lnTo>
                      <a:pt x="873638" y="1763655"/>
                    </a:lnTo>
                    <a:lnTo>
                      <a:pt x="874272" y="1759209"/>
                    </a:lnTo>
                    <a:lnTo>
                      <a:pt x="874590" y="1754444"/>
                    </a:lnTo>
                    <a:lnTo>
                      <a:pt x="874272" y="1749998"/>
                    </a:lnTo>
                    <a:lnTo>
                      <a:pt x="873638" y="1745552"/>
                    </a:lnTo>
                    <a:lnTo>
                      <a:pt x="873320" y="1740787"/>
                    </a:lnTo>
                    <a:lnTo>
                      <a:pt x="872686" y="1736341"/>
                    </a:lnTo>
                    <a:lnTo>
                      <a:pt x="871734" y="1732212"/>
                    </a:lnTo>
                    <a:lnTo>
                      <a:pt x="870464" y="1728083"/>
                    </a:lnTo>
                    <a:lnTo>
                      <a:pt x="867608" y="1719508"/>
                    </a:lnTo>
                    <a:lnTo>
                      <a:pt x="863483" y="1711886"/>
                    </a:lnTo>
                    <a:lnTo>
                      <a:pt x="859040" y="1704263"/>
                    </a:lnTo>
                    <a:lnTo>
                      <a:pt x="853963" y="1697276"/>
                    </a:lnTo>
                    <a:lnTo>
                      <a:pt x="847933" y="1691241"/>
                    </a:lnTo>
                    <a:lnTo>
                      <a:pt x="841586" y="1685207"/>
                    </a:lnTo>
                    <a:lnTo>
                      <a:pt x="834605" y="1680125"/>
                    </a:lnTo>
                    <a:lnTo>
                      <a:pt x="827306" y="1675679"/>
                    </a:lnTo>
                    <a:lnTo>
                      <a:pt x="819690" y="1671550"/>
                    </a:lnTo>
                    <a:lnTo>
                      <a:pt x="811122" y="1668691"/>
                    </a:lnTo>
                    <a:lnTo>
                      <a:pt x="806996" y="1667421"/>
                    </a:lnTo>
                    <a:lnTo>
                      <a:pt x="802553" y="1666468"/>
                    </a:lnTo>
                    <a:lnTo>
                      <a:pt x="798111" y="1665515"/>
                    </a:lnTo>
                    <a:lnTo>
                      <a:pt x="793668" y="1665198"/>
                    </a:lnTo>
                    <a:lnTo>
                      <a:pt x="788908" y="1664880"/>
                    </a:lnTo>
                    <a:lnTo>
                      <a:pt x="784465" y="1664563"/>
                    </a:lnTo>
                    <a:lnTo>
                      <a:pt x="475693" y="1664563"/>
                    </a:lnTo>
                    <a:close/>
                    <a:moveTo>
                      <a:pt x="1670551" y="1495108"/>
                    </a:moveTo>
                    <a:lnTo>
                      <a:pt x="1662926" y="1495425"/>
                    </a:lnTo>
                    <a:lnTo>
                      <a:pt x="1655936" y="1496695"/>
                    </a:lnTo>
                    <a:lnTo>
                      <a:pt x="1648946" y="1498283"/>
                    </a:lnTo>
                    <a:lnTo>
                      <a:pt x="1642274" y="1500823"/>
                    </a:lnTo>
                    <a:lnTo>
                      <a:pt x="1636237" y="1503998"/>
                    </a:lnTo>
                    <a:lnTo>
                      <a:pt x="1629882" y="1507490"/>
                    </a:lnTo>
                    <a:lnTo>
                      <a:pt x="1624481" y="1511618"/>
                    </a:lnTo>
                    <a:lnTo>
                      <a:pt x="1619080" y="1516380"/>
                    </a:lnTo>
                    <a:lnTo>
                      <a:pt x="1614631" y="1521778"/>
                    </a:lnTo>
                    <a:lnTo>
                      <a:pt x="1610183" y="1527175"/>
                    </a:lnTo>
                    <a:lnTo>
                      <a:pt x="1606688" y="1533208"/>
                    </a:lnTo>
                    <a:lnTo>
                      <a:pt x="1603511" y="1539240"/>
                    </a:lnTo>
                    <a:lnTo>
                      <a:pt x="1601605" y="1545908"/>
                    </a:lnTo>
                    <a:lnTo>
                      <a:pt x="1599698" y="1552893"/>
                    </a:lnTo>
                    <a:lnTo>
                      <a:pt x="1598427" y="1559878"/>
                    </a:lnTo>
                    <a:lnTo>
                      <a:pt x="1598110" y="1567498"/>
                    </a:lnTo>
                    <a:lnTo>
                      <a:pt x="1598427" y="1574800"/>
                    </a:lnTo>
                    <a:lnTo>
                      <a:pt x="1599698" y="1582103"/>
                    </a:lnTo>
                    <a:lnTo>
                      <a:pt x="1601605" y="1589088"/>
                    </a:lnTo>
                    <a:lnTo>
                      <a:pt x="1603511" y="1595755"/>
                    </a:lnTo>
                    <a:lnTo>
                      <a:pt x="1606688" y="1602105"/>
                    </a:lnTo>
                    <a:lnTo>
                      <a:pt x="1610183" y="1607820"/>
                    </a:lnTo>
                    <a:lnTo>
                      <a:pt x="1614631" y="1613535"/>
                    </a:lnTo>
                    <a:lnTo>
                      <a:pt x="1619080" y="1618615"/>
                    </a:lnTo>
                    <a:lnTo>
                      <a:pt x="1624481" y="1623378"/>
                    </a:lnTo>
                    <a:lnTo>
                      <a:pt x="1629882" y="1627505"/>
                    </a:lnTo>
                    <a:lnTo>
                      <a:pt x="1636237" y="1630998"/>
                    </a:lnTo>
                    <a:lnTo>
                      <a:pt x="1642274" y="1634173"/>
                    </a:lnTo>
                    <a:lnTo>
                      <a:pt x="1648946" y="1636713"/>
                    </a:lnTo>
                    <a:lnTo>
                      <a:pt x="1655936" y="1638300"/>
                    </a:lnTo>
                    <a:lnTo>
                      <a:pt x="1662926" y="1639253"/>
                    </a:lnTo>
                    <a:lnTo>
                      <a:pt x="1670551" y="1639570"/>
                    </a:lnTo>
                    <a:lnTo>
                      <a:pt x="1918697" y="1639570"/>
                    </a:lnTo>
                    <a:lnTo>
                      <a:pt x="1926004" y="1639253"/>
                    </a:lnTo>
                    <a:lnTo>
                      <a:pt x="1933630" y="1638300"/>
                    </a:lnTo>
                    <a:lnTo>
                      <a:pt x="1940620" y="1636713"/>
                    </a:lnTo>
                    <a:lnTo>
                      <a:pt x="1947292" y="1634173"/>
                    </a:lnTo>
                    <a:lnTo>
                      <a:pt x="1953329" y="1630998"/>
                    </a:lnTo>
                    <a:lnTo>
                      <a:pt x="1959366" y="1627505"/>
                    </a:lnTo>
                    <a:lnTo>
                      <a:pt x="1964767" y="1623378"/>
                    </a:lnTo>
                    <a:lnTo>
                      <a:pt x="1970168" y="1618615"/>
                    </a:lnTo>
                    <a:lnTo>
                      <a:pt x="1974934" y="1613535"/>
                    </a:lnTo>
                    <a:lnTo>
                      <a:pt x="1979065" y="1607820"/>
                    </a:lnTo>
                    <a:lnTo>
                      <a:pt x="1982560" y="1602105"/>
                    </a:lnTo>
                    <a:lnTo>
                      <a:pt x="1985419" y="1595755"/>
                    </a:lnTo>
                    <a:lnTo>
                      <a:pt x="1988279" y="1589088"/>
                    </a:lnTo>
                    <a:lnTo>
                      <a:pt x="1989868" y="1582103"/>
                    </a:lnTo>
                    <a:lnTo>
                      <a:pt x="1991138" y="1574800"/>
                    </a:lnTo>
                    <a:lnTo>
                      <a:pt x="1991456" y="1567498"/>
                    </a:lnTo>
                    <a:lnTo>
                      <a:pt x="1991138" y="1559878"/>
                    </a:lnTo>
                    <a:lnTo>
                      <a:pt x="1989868" y="1552893"/>
                    </a:lnTo>
                    <a:lnTo>
                      <a:pt x="1988279" y="1545908"/>
                    </a:lnTo>
                    <a:lnTo>
                      <a:pt x="1985419" y="1539240"/>
                    </a:lnTo>
                    <a:lnTo>
                      <a:pt x="1982560" y="1533208"/>
                    </a:lnTo>
                    <a:lnTo>
                      <a:pt x="1979065" y="1527175"/>
                    </a:lnTo>
                    <a:lnTo>
                      <a:pt x="1974934" y="1521778"/>
                    </a:lnTo>
                    <a:lnTo>
                      <a:pt x="1970168" y="1516380"/>
                    </a:lnTo>
                    <a:lnTo>
                      <a:pt x="1964767" y="1511618"/>
                    </a:lnTo>
                    <a:lnTo>
                      <a:pt x="1959366" y="1507490"/>
                    </a:lnTo>
                    <a:lnTo>
                      <a:pt x="1953329" y="1503998"/>
                    </a:lnTo>
                    <a:lnTo>
                      <a:pt x="1947292" y="1500823"/>
                    </a:lnTo>
                    <a:lnTo>
                      <a:pt x="1940620" y="1498283"/>
                    </a:lnTo>
                    <a:lnTo>
                      <a:pt x="1933630" y="1496695"/>
                    </a:lnTo>
                    <a:lnTo>
                      <a:pt x="1926004" y="1495425"/>
                    </a:lnTo>
                    <a:lnTo>
                      <a:pt x="1918697" y="1495108"/>
                    </a:lnTo>
                    <a:lnTo>
                      <a:pt x="1670551" y="1495108"/>
                    </a:lnTo>
                    <a:close/>
                    <a:moveTo>
                      <a:pt x="1787673" y="611187"/>
                    </a:moveTo>
                    <a:lnTo>
                      <a:pt x="1794669" y="611187"/>
                    </a:lnTo>
                    <a:lnTo>
                      <a:pt x="1801665" y="611187"/>
                    </a:lnTo>
                    <a:lnTo>
                      <a:pt x="1808661" y="612140"/>
                    </a:lnTo>
                    <a:lnTo>
                      <a:pt x="1815338" y="613093"/>
                    </a:lnTo>
                    <a:lnTo>
                      <a:pt x="1822016" y="614681"/>
                    </a:lnTo>
                    <a:lnTo>
                      <a:pt x="1828694" y="616587"/>
                    </a:lnTo>
                    <a:lnTo>
                      <a:pt x="1835372" y="618810"/>
                    </a:lnTo>
                    <a:lnTo>
                      <a:pt x="1841732" y="621352"/>
                    </a:lnTo>
                    <a:lnTo>
                      <a:pt x="1847773" y="624210"/>
                    </a:lnTo>
                    <a:lnTo>
                      <a:pt x="1853815" y="627387"/>
                    </a:lnTo>
                    <a:lnTo>
                      <a:pt x="1859539" y="631198"/>
                    </a:lnTo>
                    <a:lnTo>
                      <a:pt x="1865581" y="635010"/>
                    </a:lnTo>
                    <a:lnTo>
                      <a:pt x="1870987" y="639457"/>
                    </a:lnTo>
                    <a:lnTo>
                      <a:pt x="1876393" y="643904"/>
                    </a:lnTo>
                    <a:lnTo>
                      <a:pt x="1881480" y="648986"/>
                    </a:lnTo>
                    <a:lnTo>
                      <a:pt x="1886568" y="654068"/>
                    </a:lnTo>
                    <a:lnTo>
                      <a:pt x="1891338" y="659151"/>
                    </a:lnTo>
                    <a:lnTo>
                      <a:pt x="1895790" y="665186"/>
                    </a:lnTo>
                    <a:lnTo>
                      <a:pt x="1900242" y="670903"/>
                    </a:lnTo>
                    <a:lnTo>
                      <a:pt x="1904376" y="677256"/>
                    </a:lnTo>
                    <a:lnTo>
                      <a:pt x="1908192" y="683609"/>
                    </a:lnTo>
                    <a:lnTo>
                      <a:pt x="1911690" y="690597"/>
                    </a:lnTo>
                    <a:lnTo>
                      <a:pt x="1915188" y="697267"/>
                    </a:lnTo>
                    <a:lnTo>
                      <a:pt x="1918049" y="704255"/>
                    </a:lnTo>
                    <a:lnTo>
                      <a:pt x="1920593" y="711561"/>
                    </a:lnTo>
                    <a:lnTo>
                      <a:pt x="1923137" y="718867"/>
                    </a:lnTo>
                    <a:lnTo>
                      <a:pt x="1925363" y="726808"/>
                    </a:lnTo>
                    <a:lnTo>
                      <a:pt x="1927271" y="734431"/>
                    </a:lnTo>
                    <a:lnTo>
                      <a:pt x="1928861" y="742690"/>
                    </a:lnTo>
                    <a:lnTo>
                      <a:pt x="1929815" y="750631"/>
                    </a:lnTo>
                    <a:lnTo>
                      <a:pt x="1930451" y="758889"/>
                    </a:lnTo>
                    <a:lnTo>
                      <a:pt x="1931405" y="767466"/>
                    </a:lnTo>
                    <a:lnTo>
                      <a:pt x="1931405" y="775724"/>
                    </a:lnTo>
                    <a:lnTo>
                      <a:pt x="1931723" y="784301"/>
                    </a:lnTo>
                    <a:lnTo>
                      <a:pt x="1932359" y="791924"/>
                    </a:lnTo>
                    <a:lnTo>
                      <a:pt x="1933313" y="799865"/>
                    </a:lnTo>
                    <a:lnTo>
                      <a:pt x="1934585" y="806853"/>
                    </a:lnTo>
                    <a:lnTo>
                      <a:pt x="1936175" y="813206"/>
                    </a:lnTo>
                    <a:lnTo>
                      <a:pt x="1938401" y="819241"/>
                    </a:lnTo>
                    <a:lnTo>
                      <a:pt x="1940627" y="824958"/>
                    </a:lnTo>
                    <a:lnTo>
                      <a:pt x="1943171" y="830041"/>
                    </a:lnTo>
                    <a:lnTo>
                      <a:pt x="1945715" y="834805"/>
                    </a:lnTo>
                    <a:lnTo>
                      <a:pt x="1948576" y="839252"/>
                    </a:lnTo>
                    <a:lnTo>
                      <a:pt x="1951756" y="843381"/>
                    </a:lnTo>
                    <a:lnTo>
                      <a:pt x="1954936" y="846875"/>
                    </a:lnTo>
                    <a:lnTo>
                      <a:pt x="1958116" y="850687"/>
                    </a:lnTo>
                    <a:lnTo>
                      <a:pt x="1961614" y="853546"/>
                    </a:lnTo>
                    <a:lnTo>
                      <a:pt x="1965430" y="856087"/>
                    </a:lnTo>
                    <a:lnTo>
                      <a:pt x="1968610" y="858946"/>
                    </a:lnTo>
                    <a:lnTo>
                      <a:pt x="1975606" y="862757"/>
                    </a:lnTo>
                    <a:lnTo>
                      <a:pt x="1982284" y="866251"/>
                    </a:lnTo>
                    <a:lnTo>
                      <a:pt x="1988643" y="868475"/>
                    </a:lnTo>
                    <a:lnTo>
                      <a:pt x="1994049" y="869745"/>
                    </a:lnTo>
                    <a:lnTo>
                      <a:pt x="1998819" y="871016"/>
                    </a:lnTo>
                    <a:lnTo>
                      <a:pt x="2002635" y="871334"/>
                    </a:lnTo>
                    <a:lnTo>
                      <a:pt x="2005815" y="871651"/>
                    </a:lnTo>
                    <a:lnTo>
                      <a:pt x="2005815" y="932320"/>
                    </a:lnTo>
                    <a:lnTo>
                      <a:pt x="1841096" y="932320"/>
                    </a:lnTo>
                    <a:lnTo>
                      <a:pt x="1841096" y="997119"/>
                    </a:lnTo>
                    <a:lnTo>
                      <a:pt x="1853815" y="999025"/>
                    </a:lnTo>
                    <a:lnTo>
                      <a:pt x="1865899" y="1001566"/>
                    </a:lnTo>
                    <a:lnTo>
                      <a:pt x="1877983" y="1004107"/>
                    </a:lnTo>
                    <a:lnTo>
                      <a:pt x="1890066" y="1007601"/>
                    </a:lnTo>
                    <a:lnTo>
                      <a:pt x="1901514" y="1011095"/>
                    </a:lnTo>
                    <a:lnTo>
                      <a:pt x="1912962" y="1015224"/>
                    </a:lnTo>
                    <a:lnTo>
                      <a:pt x="1923773" y="1019354"/>
                    </a:lnTo>
                    <a:lnTo>
                      <a:pt x="1934903" y="1024118"/>
                    </a:lnTo>
                    <a:lnTo>
                      <a:pt x="1945715" y="1029200"/>
                    </a:lnTo>
                    <a:lnTo>
                      <a:pt x="1956208" y="1034918"/>
                    </a:lnTo>
                    <a:lnTo>
                      <a:pt x="1966384" y="1040635"/>
                    </a:lnTo>
                    <a:lnTo>
                      <a:pt x="1976242" y="1046988"/>
                    </a:lnTo>
                    <a:lnTo>
                      <a:pt x="1986099" y="1053659"/>
                    </a:lnTo>
                    <a:lnTo>
                      <a:pt x="1995321" y="1060329"/>
                    </a:lnTo>
                    <a:lnTo>
                      <a:pt x="2003907" y="1067635"/>
                    </a:lnTo>
                    <a:lnTo>
                      <a:pt x="2012811" y="1074940"/>
                    </a:lnTo>
                    <a:lnTo>
                      <a:pt x="2021396" y="1082881"/>
                    </a:lnTo>
                    <a:lnTo>
                      <a:pt x="2029028" y="1090822"/>
                    </a:lnTo>
                    <a:lnTo>
                      <a:pt x="2036978" y="1099081"/>
                    </a:lnTo>
                    <a:lnTo>
                      <a:pt x="2044292" y="1107975"/>
                    </a:lnTo>
                    <a:lnTo>
                      <a:pt x="2051288" y="1116551"/>
                    </a:lnTo>
                    <a:lnTo>
                      <a:pt x="2057965" y="1125445"/>
                    </a:lnTo>
                    <a:lnTo>
                      <a:pt x="2064325" y="1135292"/>
                    </a:lnTo>
                    <a:lnTo>
                      <a:pt x="2069731" y="1144821"/>
                    </a:lnTo>
                    <a:lnTo>
                      <a:pt x="2075455" y="1154350"/>
                    </a:lnTo>
                    <a:lnTo>
                      <a:pt x="2080225" y="1164515"/>
                    </a:lnTo>
                    <a:lnTo>
                      <a:pt x="2084995" y="1174679"/>
                    </a:lnTo>
                    <a:lnTo>
                      <a:pt x="2089128" y="1185161"/>
                    </a:lnTo>
                    <a:lnTo>
                      <a:pt x="2092626" y="1195643"/>
                    </a:lnTo>
                    <a:lnTo>
                      <a:pt x="2095488" y="1206761"/>
                    </a:lnTo>
                    <a:lnTo>
                      <a:pt x="2098668" y="1217560"/>
                    </a:lnTo>
                    <a:lnTo>
                      <a:pt x="2100894" y="1228995"/>
                    </a:lnTo>
                    <a:lnTo>
                      <a:pt x="2103438" y="1336675"/>
                    </a:lnTo>
                    <a:lnTo>
                      <a:pt x="1485900" y="1336675"/>
                    </a:lnTo>
                    <a:lnTo>
                      <a:pt x="1488444" y="1228995"/>
                    </a:lnTo>
                    <a:lnTo>
                      <a:pt x="1490670" y="1217560"/>
                    </a:lnTo>
                    <a:lnTo>
                      <a:pt x="1493214" y="1206761"/>
                    </a:lnTo>
                    <a:lnTo>
                      <a:pt x="1496712" y="1195643"/>
                    </a:lnTo>
                    <a:lnTo>
                      <a:pt x="1500210" y="1185161"/>
                    </a:lnTo>
                    <a:lnTo>
                      <a:pt x="1504343" y="1174679"/>
                    </a:lnTo>
                    <a:lnTo>
                      <a:pt x="1508795" y="1164515"/>
                    </a:lnTo>
                    <a:lnTo>
                      <a:pt x="1513565" y="1154350"/>
                    </a:lnTo>
                    <a:lnTo>
                      <a:pt x="1519289" y="1144821"/>
                    </a:lnTo>
                    <a:lnTo>
                      <a:pt x="1525013" y="1135292"/>
                    </a:lnTo>
                    <a:lnTo>
                      <a:pt x="1531055" y="1125763"/>
                    </a:lnTo>
                    <a:lnTo>
                      <a:pt x="1537732" y="1116551"/>
                    </a:lnTo>
                    <a:lnTo>
                      <a:pt x="1544728" y="1107975"/>
                    </a:lnTo>
                    <a:lnTo>
                      <a:pt x="1552042" y="1099081"/>
                    </a:lnTo>
                    <a:lnTo>
                      <a:pt x="1559674" y="1090822"/>
                    </a:lnTo>
                    <a:lnTo>
                      <a:pt x="1567942" y="1082881"/>
                    </a:lnTo>
                    <a:lnTo>
                      <a:pt x="1576209" y="1074940"/>
                    </a:lnTo>
                    <a:lnTo>
                      <a:pt x="1584795" y="1067635"/>
                    </a:lnTo>
                    <a:lnTo>
                      <a:pt x="1593699" y="1060329"/>
                    </a:lnTo>
                    <a:lnTo>
                      <a:pt x="1603239" y="1053659"/>
                    </a:lnTo>
                    <a:lnTo>
                      <a:pt x="1613096" y="1046988"/>
                    </a:lnTo>
                    <a:lnTo>
                      <a:pt x="1622954" y="1040635"/>
                    </a:lnTo>
                    <a:lnTo>
                      <a:pt x="1632812" y="1034918"/>
                    </a:lnTo>
                    <a:lnTo>
                      <a:pt x="1643305" y="1029200"/>
                    </a:lnTo>
                    <a:lnTo>
                      <a:pt x="1654117" y="1024118"/>
                    </a:lnTo>
                    <a:lnTo>
                      <a:pt x="1664929" y="1019671"/>
                    </a:lnTo>
                    <a:lnTo>
                      <a:pt x="1676058" y="1015224"/>
                    </a:lnTo>
                    <a:lnTo>
                      <a:pt x="1687506" y="1011095"/>
                    </a:lnTo>
                    <a:lnTo>
                      <a:pt x="1699272" y="1007601"/>
                    </a:lnTo>
                    <a:lnTo>
                      <a:pt x="1711355" y="1004107"/>
                    </a:lnTo>
                    <a:lnTo>
                      <a:pt x="1723439" y="1001566"/>
                    </a:lnTo>
                    <a:lnTo>
                      <a:pt x="1735523" y="999025"/>
                    </a:lnTo>
                    <a:lnTo>
                      <a:pt x="1747924" y="997119"/>
                    </a:lnTo>
                    <a:lnTo>
                      <a:pt x="1747924" y="932320"/>
                    </a:lnTo>
                    <a:lnTo>
                      <a:pt x="1583205" y="932320"/>
                    </a:lnTo>
                    <a:lnTo>
                      <a:pt x="1583205" y="871651"/>
                    </a:lnTo>
                    <a:lnTo>
                      <a:pt x="1586385" y="871334"/>
                    </a:lnTo>
                    <a:lnTo>
                      <a:pt x="1590201" y="870698"/>
                    </a:lnTo>
                    <a:lnTo>
                      <a:pt x="1594971" y="869110"/>
                    </a:lnTo>
                    <a:lnTo>
                      <a:pt x="1600377" y="867204"/>
                    </a:lnTo>
                    <a:lnTo>
                      <a:pt x="1606736" y="864663"/>
                    </a:lnTo>
                    <a:lnTo>
                      <a:pt x="1613414" y="861487"/>
                    </a:lnTo>
                    <a:lnTo>
                      <a:pt x="1620410" y="857358"/>
                    </a:lnTo>
                    <a:lnTo>
                      <a:pt x="1624226" y="854816"/>
                    </a:lnTo>
                    <a:lnTo>
                      <a:pt x="1627406" y="851958"/>
                    </a:lnTo>
                    <a:lnTo>
                      <a:pt x="1630586" y="848464"/>
                    </a:lnTo>
                    <a:lnTo>
                      <a:pt x="1634084" y="845287"/>
                    </a:lnTo>
                    <a:lnTo>
                      <a:pt x="1637264" y="841476"/>
                    </a:lnTo>
                    <a:lnTo>
                      <a:pt x="1640444" y="837346"/>
                    </a:lnTo>
                    <a:lnTo>
                      <a:pt x="1643305" y="832899"/>
                    </a:lnTo>
                    <a:lnTo>
                      <a:pt x="1646167" y="828135"/>
                    </a:lnTo>
                    <a:lnTo>
                      <a:pt x="1648393" y="823052"/>
                    </a:lnTo>
                    <a:lnTo>
                      <a:pt x="1650619" y="817653"/>
                    </a:lnTo>
                    <a:lnTo>
                      <a:pt x="1652845" y="811617"/>
                    </a:lnTo>
                    <a:lnTo>
                      <a:pt x="1654435" y="805265"/>
                    </a:lnTo>
                    <a:lnTo>
                      <a:pt x="1655707" y="798594"/>
                    </a:lnTo>
                    <a:lnTo>
                      <a:pt x="1656979" y="791289"/>
                    </a:lnTo>
                    <a:lnTo>
                      <a:pt x="1657297" y="783983"/>
                    </a:lnTo>
                    <a:lnTo>
                      <a:pt x="1657615" y="775724"/>
                    </a:lnTo>
                    <a:lnTo>
                      <a:pt x="1657933" y="767466"/>
                    </a:lnTo>
                    <a:lnTo>
                      <a:pt x="1658569" y="758889"/>
                    </a:lnTo>
                    <a:lnTo>
                      <a:pt x="1659205" y="750631"/>
                    </a:lnTo>
                    <a:lnTo>
                      <a:pt x="1660477" y="742690"/>
                    </a:lnTo>
                    <a:lnTo>
                      <a:pt x="1662067" y="734431"/>
                    </a:lnTo>
                    <a:lnTo>
                      <a:pt x="1663975" y="726808"/>
                    </a:lnTo>
                    <a:lnTo>
                      <a:pt x="1666201" y="718867"/>
                    </a:lnTo>
                    <a:lnTo>
                      <a:pt x="1668427" y="711561"/>
                    </a:lnTo>
                    <a:lnTo>
                      <a:pt x="1671289" y="704255"/>
                    </a:lnTo>
                    <a:lnTo>
                      <a:pt x="1674151" y="697267"/>
                    </a:lnTo>
                    <a:lnTo>
                      <a:pt x="1677648" y="690597"/>
                    </a:lnTo>
                    <a:lnTo>
                      <a:pt x="1680828" y="683609"/>
                    </a:lnTo>
                    <a:lnTo>
                      <a:pt x="1684962" y="677256"/>
                    </a:lnTo>
                    <a:lnTo>
                      <a:pt x="1689096" y="670903"/>
                    </a:lnTo>
                    <a:lnTo>
                      <a:pt x="1693230" y="665186"/>
                    </a:lnTo>
                    <a:lnTo>
                      <a:pt x="1698000" y="659151"/>
                    </a:lnTo>
                    <a:lnTo>
                      <a:pt x="1702770" y="654068"/>
                    </a:lnTo>
                    <a:lnTo>
                      <a:pt x="1707540" y="648986"/>
                    </a:lnTo>
                    <a:lnTo>
                      <a:pt x="1712627" y="643904"/>
                    </a:lnTo>
                    <a:lnTo>
                      <a:pt x="1718351" y="639457"/>
                    </a:lnTo>
                    <a:lnTo>
                      <a:pt x="1723757" y="635010"/>
                    </a:lnTo>
                    <a:lnTo>
                      <a:pt x="1729163" y="631198"/>
                    </a:lnTo>
                    <a:lnTo>
                      <a:pt x="1735205" y="627387"/>
                    </a:lnTo>
                    <a:lnTo>
                      <a:pt x="1741565" y="624210"/>
                    </a:lnTo>
                    <a:lnTo>
                      <a:pt x="1747288" y="621352"/>
                    </a:lnTo>
                    <a:lnTo>
                      <a:pt x="1753966" y="618810"/>
                    </a:lnTo>
                    <a:lnTo>
                      <a:pt x="1760326" y="616587"/>
                    </a:lnTo>
                    <a:lnTo>
                      <a:pt x="1767004" y="614681"/>
                    </a:lnTo>
                    <a:lnTo>
                      <a:pt x="1773682" y="613093"/>
                    </a:lnTo>
                    <a:lnTo>
                      <a:pt x="1780677" y="612140"/>
                    </a:lnTo>
                    <a:lnTo>
                      <a:pt x="1787673" y="611187"/>
                    </a:lnTo>
                    <a:close/>
                    <a:moveTo>
                      <a:pt x="630238" y="565150"/>
                    </a:moveTo>
                    <a:lnTo>
                      <a:pt x="639136" y="565468"/>
                    </a:lnTo>
                    <a:lnTo>
                      <a:pt x="647397" y="566420"/>
                    </a:lnTo>
                    <a:lnTo>
                      <a:pt x="655977" y="567372"/>
                    </a:lnTo>
                    <a:lnTo>
                      <a:pt x="664557" y="569276"/>
                    </a:lnTo>
                    <a:lnTo>
                      <a:pt x="672501" y="571498"/>
                    </a:lnTo>
                    <a:lnTo>
                      <a:pt x="680762" y="574354"/>
                    </a:lnTo>
                    <a:lnTo>
                      <a:pt x="689024" y="577211"/>
                    </a:lnTo>
                    <a:lnTo>
                      <a:pt x="696333" y="581020"/>
                    </a:lnTo>
                    <a:lnTo>
                      <a:pt x="703959" y="585463"/>
                    </a:lnTo>
                    <a:lnTo>
                      <a:pt x="711268" y="589907"/>
                    </a:lnTo>
                    <a:lnTo>
                      <a:pt x="718258" y="594667"/>
                    </a:lnTo>
                    <a:lnTo>
                      <a:pt x="725249" y="600063"/>
                    </a:lnTo>
                    <a:lnTo>
                      <a:pt x="731922" y="605776"/>
                    </a:lnTo>
                    <a:lnTo>
                      <a:pt x="738278" y="611489"/>
                    </a:lnTo>
                    <a:lnTo>
                      <a:pt x="744633" y="618154"/>
                    </a:lnTo>
                    <a:lnTo>
                      <a:pt x="750353" y="624820"/>
                    </a:lnTo>
                    <a:lnTo>
                      <a:pt x="756072" y="632437"/>
                    </a:lnTo>
                    <a:lnTo>
                      <a:pt x="761474" y="639737"/>
                    </a:lnTo>
                    <a:lnTo>
                      <a:pt x="766241" y="647354"/>
                    </a:lnTo>
                    <a:lnTo>
                      <a:pt x="771007" y="655289"/>
                    </a:lnTo>
                    <a:lnTo>
                      <a:pt x="775456" y="663541"/>
                    </a:lnTo>
                    <a:lnTo>
                      <a:pt x="779587" y="672111"/>
                    </a:lnTo>
                    <a:lnTo>
                      <a:pt x="783400" y="680998"/>
                    </a:lnTo>
                    <a:lnTo>
                      <a:pt x="786895" y="690202"/>
                    </a:lnTo>
                    <a:lnTo>
                      <a:pt x="790073" y="699406"/>
                    </a:lnTo>
                    <a:lnTo>
                      <a:pt x="792615" y="708611"/>
                    </a:lnTo>
                    <a:lnTo>
                      <a:pt x="794839" y="718450"/>
                    </a:lnTo>
                    <a:lnTo>
                      <a:pt x="796746" y="728606"/>
                    </a:lnTo>
                    <a:lnTo>
                      <a:pt x="798017" y="738445"/>
                    </a:lnTo>
                    <a:lnTo>
                      <a:pt x="799288" y="748919"/>
                    </a:lnTo>
                    <a:lnTo>
                      <a:pt x="799923" y="759076"/>
                    </a:lnTo>
                    <a:lnTo>
                      <a:pt x="800241" y="769550"/>
                    </a:lnTo>
                    <a:lnTo>
                      <a:pt x="799923" y="777802"/>
                    </a:lnTo>
                    <a:lnTo>
                      <a:pt x="799606" y="786054"/>
                    </a:lnTo>
                    <a:lnTo>
                      <a:pt x="798970" y="793989"/>
                    </a:lnTo>
                    <a:lnTo>
                      <a:pt x="798017" y="801923"/>
                    </a:lnTo>
                    <a:lnTo>
                      <a:pt x="797064" y="809541"/>
                    </a:lnTo>
                    <a:lnTo>
                      <a:pt x="795475" y="817476"/>
                    </a:lnTo>
                    <a:lnTo>
                      <a:pt x="793568" y="825093"/>
                    </a:lnTo>
                    <a:lnTo>
                      <a:pt x="791979" y="832710"/>
                    </a:lnTo>
                    <a:lnTo>
                      <a:pt x="789755" y="840328"/>
                    </a:lnTo>
                    <a:lnTo>
                      <a:pt x="787531" y="847310"/>
                    </a:lnTo>
                    <a:lnTo>
                      <a:pt x="784671" y="854293"/>
                    </a:lnTo>
                    <a:lnTo>
                      <a:pt x="781811" y="861276"/>
                    </a:lnTo>
                    <a:lnTo>
                      <a:pt x="778951" y="868258"/>
                    </a:lnTo>
                    <a:lnTo>
                      <a:pt x="775456" y="874923"/>
                    </a:lnTo>
                    <a:lnTo>
                      <a:pt x="772278" y="880954"/>
                    </a:lnTo>
                    <a:lnTo>
                      <a:pt x="768465" y="887619"/>
                    </a:lnTo>
                    <a:lnTo>
                      <a:pt x="764970" y="893649"/>
                    </a:lnTo>
                    <a:lnTo>
                      <a:pt x="760839" y="899680"/>
                    </a:lnTo>
                    <a:lnTo>
                      <a:pt x="756708" y="905393"/>
                    </a:lnTo>
                    <a:lnTo>
                      <a:pt x="752259" y="911106"/>
                    </a:lnTo>
                    <a:lnTo>
                      <a:pt x="747810" y="916501"/>
                    </a:lnTo>
                    <a:lnTo>
                      <a:pt x="743044" y="921580"/>
                    </a:lnTo>
                    <a:lnTo>
                      <a:pt x="738278" y="926341"/>
                    </a:lnTo>
                    <a:lnTo>
                      <a:pt x="733193" y="931101"/>
                    </a:lnTo>
                    <a:lnTo>
                      <a:pt x="728109" y="936180"/>
                    </a:lnTo>
                    <a:lnTo>
                      <a:pt x="722707" y="939988"/>
                    </a:lnTo>
                    <a:lnTo>
                      <a:pt x="717305" y="944114"/>
                    </a:lnTo>
                    <a:lnTo>
                      <a:pt x="711903" y="948241"/>
                    </a:lnTo>
                    <a:lnTo>
                      <a:pt x="706183" y="951414"/>
                    </a:lnTo>
                    <a:lnTo>
                      <a:pt x="700464" y="954906"/>
                    </a:lnTo>
                    <a:lnTo>
                      <a:pt x="694426" y="958080"/>
                    </a:lnTo>
                    <a:lnTo>
                      <a:pt x="688071" y="960619"/>
                    </a:lnTo>
                    <a:lnTo>
                      <a:pt x="688071" y="1044727"/>
                    </a:lnTo>
                    <a:lnTo>
                      <a:pt x="703641" y="1047266"/>
                    </a:lnTo>
                    <a:lnTo>
                      <a:pt x="718894" y="1050440"/>
                    </a:lnTo>
                    <a:lnTo>
                      <a:pt x="733829" y="1053614"/>
                    </a:lnTo>
                    <a:lnTo>
                      <a:pt x="748764" y="1057740"/>
                    </a:lnTo>
                    <a:lnTo>
                      <a:pt x="763063" y="1062184"/>
                    </a:lnTo>
                    <a:lnTo>
                      <a:pt x="777045" y="1066945"/>
                    </a:lnTo>
                    <a:lnTo>
                      <a:pt x="791026" y="1072340"/>
                    </a:lnTo>
                    <a:lnTo>
                      <a:pt x="804690" y="1078371"/>
                    </a:lnTo>
                    <a:lnTo>
                      <a:pt x="818036" y="1085036"/>
                    </a:lnTo>
                    <a:lnTo>
                      <a:pt x="831064" y="1091701"/>
                    </a:lnTo>
                    <a:lnTo>
                      <a:pt x="843775" y="1099001"/>
                    </a:lnTo>
                    <a:lnTo>
                      <a:pt x="856167" y="1106618"/>
                    </a:lnTo>
                    <a:lnTo>
                      <a:pt x="867925" y="1114871"/>
                    </a:lnTo>
                    <a:lnTo>
                      <a:pt x="879682" y="1123440"/>
                    </a:lnTo>
                    <a:lnTo>
                      <a:pt x="890804" y="1132010"/>
                    </a:lnTo>
                    <a:lnTo>
                      <a:pt x="901925" y="1141214"/>
                    </a:lnTo>
                    <a:lnTo>
                      <a:pt x="912094" y="1151370"/>
                    </a:lnTo>
                    <a:lnTo>
                      <a:pt x="921944" y="1161210"/>
                    </a:lnTo>
                    <a:lnTo>
                      <a:pt x="931795" y="1171683"/>
                    </a:lnTo>
                    <a:lnTo>
                      <a:pt x="940692" y="1182157"/>
                    </a:lnTo>
                    <a:lnTo>
                      <a:pt x="949272" y="1193266"/>
                    </a:lnTo>
                    <a:lnTo>
                      <a:pt x="957534" y="1204692"/>
                    </a:lnTo>
                    <a:lnTo>
                      <a:pt x="965160" y="1216118"/>
                    </a:lnTo>
                    <a:lnTo>
                      <a:pt x="972151" y="1227862"/>
                    </a:lnTo>
                    <a:lnTo>
                      <a:pt x="979142" y="1240557"/>
                    </a:lnTo>
                    <a:lnTo>
                      <a:pt x="985179" y="1252618"/>
                    </a:lnTo>
                    <a:lnTo>
                      <a:pt x="991217" y="1265631"/>
                    </a:lnTo>
                    <a:lnTo>
                      <a:pt x="995983" y="1278327"/>
                    </a:lnTo>
                    <a:lnTo>
                      <a:pt x="1000749" y="1291657"/>
                    </a:lnTo>
                    <a:lnTo>
                      <a:pt x="1004880" y="1304988"/>
                    </a:lnTo>
                    <a:lnTo>
                      <a:pt x="1008058" y="1318635"/>
                    </a:lnTo>
                    <a:lnTo>
                      <a:pt x="1010600" y="1332600"/>
                    </a:lnTo>
                    <a:lnTo>
                      <a:pt x="1014413" y="1484313"/>
                    </a:lnTo>
                    <a:lnTo>
                      <a:pt x="246063" y="1484313"/>
                    </a:lnTo>
                    <a:lnTo>
                      <a:pt x="249876" y="1332600"/>
                    </a:lnTo>
                    <a:lnTo>
                      <a:pt x="252419" y="1318635"/>
                    </a:lnTo>
                    <a:lnTo>
                      <a:pt x="255596" y="1304988"/>
                    </a:lnTo>
                    <a:lnTo>
                      <a:pt x="259727" y="1291657"/>
                    </a:lnTo>
                    <a:lnTo>
                      <a:pt x="264176" y="1278327"/>
                    </a:lnTo>
                    <a:lnTo>
                      <a:pt x="269260" y="1265631"/>
                    </a:lnTo>
                    <a:lnTo>
                      <a:pt x="275297" y="1252618"/>
                    </a:lnTo>
                    <a:lnTo>
                      <a:pt x="281017" y="1240557"/>
                    </a:lnTo>
                    <a:lnTo>
                      <a:pt x="288008" y="1227862"/>
                    </a:lnTo>
                    <a:lnTo>
                      <a:pt x="294999" y="1216118"/>
                    </a:lnTo>
                    <a:lnTo>
                      <a:pt x="302943" y="1204692"/>
                    </a:lnTo>
                    <a:lnTo>
                      <a:pt x="310887" y="1193266"/>
                    </a:lnTo>
                    <a:lnTo>
                      <a:pt x="319784" y="1182157"/>
                    </a:lnTo>
                    <a:lnTo>
                      <a:pt x="328682" y="1171683"/>
                    </a:lnTo>
                    <a:lnTo>
                      <a:pt x="338214" y="1161210"/>
                    </a:lnTo>
                    <a:lnTo>
                      <a:pt x="348383" y="1151370"/>
                    </a:lnTo>
                    <a:lnTo>
                      <a:pt x="358869" y="1141214"/>
                    </a:lnTo>
                    <a:lnTo>
                      <a:pt x="369673" y="1132010"/>
                    </a:lnTo>
                    <a:lnTo>
                      <a:pt x="380795" y="1123440"/>
                    </a:lnTo>
                    <a:lnTo>
                      <a:pt x="392552" y="1114871"/>
                    </a:lnTo>
                    <a:lnTo>
                      <a:pt x="404309" y="1106618"/>
                    </a:lnTo>
                    <a:lnTo>
                      <a:pt x="417020" y="1099001"/>
                    </a:lnTo>
                    <a:lnTo>
                      <a:pt x="429412" y="1091701"/>
                    </a:lnTo>
                    <a:lnTo>
                      <a:pt x="442441" y="1085036"/>
                    </a:lnTo>
                    <a:lnTo>
                      <a:pt x="455787" y="1078371"/>
                    </a:lnTo>
                    <a:lnTo>
                      <a:pt x="469450" y="1072340"/>
                    </a:lnTo>
                    <a:lnTo>
                      <a:pt x="483432" y="1066945"/>
                    </a:lnTo>
                    <a:lnTo>
                      <a:pt x="497413" y="1062184"/>
                    </a:lnTo>
                    <a:lnTo>
                      <a:pt x="511713" y="1057740"/>
                    </a:lnTo>
                    <a:lnTo>
                      <a:pt x="526648" y="1053614"/>
                    </a:lnTo>
                    <a:lnTo>
                      <a:pt x="541582" y="1050440"/>
                    </a:lnTo>
                    <a:lnTo>
                      <a:pt x="556835" y="1047266"/>
                    </a:lnTo>
                    <a:lnTo>
                      <a:pt x="571770" y="1044727"/>
                    </a:lnTo>
                    <a:lnTo>
                      <a:pt x="571770" y="960619"/>
                    </a:lnTo>
                    <a:lnTo>
                      <a:pt x="566050" y="958080"/>
                    </a:lnTo>
                    <a:lnTo>
                      <a:pt x="560013" y="954906"/>
                    </a:lnTo>
                    <a:lnTo>
                      <a:pt x="554293" y="951414"/>
                    </a:lnTo>
                    <a:lnTo>
                      <a:pt x="548573" y="948241"/>
                    </a:lnTo>
                    <a:lnTo>
                      <a:pt x="543171" y="944114"/>
                    </a:lnTo>
                    <a:lnTo>
                      <a:pt x="537452" y="939988"/>
                    </a:lnTo>
                    <a:lnTo>
                      <a:pt x="532367" y="935545"/>
                    </a:lnTo>
                    <a:lnTo>
                      <a:pt x="527283" y="931101"/>
                    </a:lnTo>
                    <a:lnTo>
                      <a:pt x="522199" y="926341"/>
                    </a:lnTo>
                    <a:lnTo>
                      <a:pt x="517433" y="921580"/>
                    </a:lnTo>
                    <a:lnTo>
                      <a:pt x="512348" y="916501"/>
                    </a:lnTo>
                    <a:lnTo>
                      <a:pt x="507900" y="911106"/>
                    </a:lnTo>
                    <a:lnTo>
                      <a:pt x="503769" y="905393"/>
                    </a:lnTo>
                    <a:lnTo>
                      <a:pt x="499638" y="899680"/>
                    </a:lnTo>
                    <a:lnTo>
                      <a:pt x="495507" y="893649"/>
                    </a:lnTo>
                    <a:lnTo>
                      <a:pt x="491694" y="887302"/>
                    </a:lnTo>
                    <a:lnTo>
                      <a:pt x="488198" y="880954"/>
                    </a:lnTo>
                    <a:lnTo>
                      <a:pt x="484385" y="874923"/>
                    </a:lnTo>
                    <a:lnTo>
                      <a:pt x="481525" y="868258"/>
                    </a:lnTo>
                    <a:lnTo>
                      <a:pt x="478665" y="861276"/>
                    </a:lnTo>
                    <a:lnTo>
                      <a:pt x="475488" y="854293"/>
                    </a:lnTo>
                    <a:lnTo>
                      <a:pt x="472946" y="847310"/>
                    </a:lnTo>
                    <a:lnTo>
                      <a:pt x="470404" y="839693"/>
                    </a:lnTo>
                    <a:lnTo>
                      <a:pt x="468497" y="832393"/>
                    </a:lnTo>
                    <a:lnTo>
                      <a:pt x="466273" y="825093"/>
                    </a:lnTo>
                    <a:lnTo>
                      <a:pt x="465002" y="817476"/>
                    </a:lnTo>
                    <a:lnTo>
                      <a:pt x="463413" y="809541"/>
                    </a:lnTo>
                    <a:lnTo>
                      <a:pt x="462142" y="801923"/>
                    </a:lnTo>
                    <a:lnTo>
                      <a:pt x="461189" y="793989"/>
                    </a:lnTo>
                    <a:lnTo>
                      <a:pt x="460871" y="786054"/>
                    </a:lnTo>
                    <a:lnTo>
                      <a:pt x="460235" y="777802"/>
                    </a:lnTo>
                    <a:lnTo>
                      <a:pt x="460235" y="769550"/>
                    </a:lnTo>
                    <a:lnTo>
                      <a:pt x="460553" y="759076"/>
                    </a:lnTo>
                    <a:lnTo>
                      <a:pt x="460871" y="748919"/>
                    </a:lnTo>
                    <a:lnTo>
                      <a:pt x="461824" y="738445"/>
                    </a:lnTo>
                    <a:lnTo>
                      <a:pt x="463413" y="728606"/>
                    </a:lnTo>
                    <a:lnTo>
                      <a:pt x="465637" y="718450"/>
                    </a:lnTo>
                    <a:lnTo>
                      <a:pt x="467862" y="708611"/>
                    </a:lnTo>
                    <a:lnTo>
                      <a:pt x="470404" y="699406"/>
                    </a:lnTo>
                    <a:lnTo>
                      <a:pt x="473264" y="690202"/>
                    </a:lnTo>
                    <a:lnTo>
                      <a:pt x="477077" y="680998"/>
                    </a:lnTo>
                    <a:lnTo>
                      <a:pt x="480890" y="672111"/>
                    </a:lnTo>
                    <a:lnTo>
                      <a:pt x="484703" y="663541"/>
                    </a:lnTo>
                    <a:lnTo>
                      <a:pt x="489152" y="655289"/>
                    </a:lnTo>
                    <a:lnTo>
                      <a:pt x="493918" y="647354"/>
                    </a:lnTo>
                    <a:lnTo>
                      <a:pt x="498685" y="639737"/>
                    </a:lnTo>
                    <a:lnTo>
                      <a:pt x="504404" y="632437"/>
                    </a:lnTo>
                    <a:lnTo>
                      <a:pt x="509806" y="624820"/>
                    </a:lnTo>
                    <a:lnTo>
                      <a:pt x="515844" y="618154"/>
                    </a:lnTo>
                    <a:lnTo>
                      <a:pt x="522199" y="611489"/>
                    </a:lnTo>
                    <a:lnTo>
                      <a:pt x="528236" y="605776"/>
                    </a:lnTo>
                    <a:lnTo>
                      <a:pt x="534909" y="600063"/>
                    </a:lnTo>
                    <a:lnTo>
                      <a:pt x="541900" y="594667"/>
                    </a:lnTo>
                    <a:lnTo>
                      <a:pt x="548891" y="589907"/>
                    </a:lnTo>
                    <a:lnTo>
                      <a:pt x="556517" y="585463"/>
                    </a:lnTo>
                    <a:lnTo>
                      <a:pt x="564144" y="581020"/>
                    </a:lnTo>
                    <a:lnTo>
                      <a:pt x="571770" y="577211"/>
                    </a:lnTo>
                    <a:lnTo>
                      <a:pt x="579714" y="574354"/>
                    </a:lnTo>
                    <a:lnTo>
                      <a:pt x="587658" y="571498"/>
                    </a:lnTo>
                    <a:lnTo>
                      <a:pt x="595920" y="569276"/>
                    </a:lnTo>
                    <a:lnTo>
                      <a:pt x="604499" y="567372"/>
                    </a:lnTo>
                    <a:lnTo>
                      <a:pt x="612761" y="566420"/>
                    </a:lnTo>
                    <a:lnTo>
                      <a:pt x="621659" y="565468"/>
                    </a:lnTo>
                    <a:lnTo>
                      <a:pt x="630238" y="565150"/>
                    </a:lnTo>
                    <a:close/>
                    <a:moveTo>
                      <a:pt x="181836" y="158167"/>
                    </a:moveTo>
                    <a:lnTo>
                      <a:pt x="178980" y="158484"/>
                    </a:lnTo>
                    <a:lnTo>
                      <a:pt x="176441" y="159119"/>
                    </a:lnTo>
                    <a:lnTo>
                      <a:pt x="173902" y="160390"/>
                    </a:lnTo>
                    <a:lnTo>
                      <a:pt x="171681" y="161343"/>
                    </a:lnTo>
                    <a:lnTo>
                      <a:pt x="169459" y="162613"/>
                    </a:lnTo>
                    <a:lnTo>
                      <a:pt x="167238" y="163884"/>
                    </a:lnTo>
                    <a:lnTo>
                      <a:pt x="165651" y="165789"/>
                    </a:lnTo>
                    <a:lnTo>
                      <a:pt x="164065" y="167695"/>
                    </a:lnTo>
                    <a:lnTo>
                      <a:pt x="162478" y="169918"/>
                    </a:lnTo>
                    <a:lnTo>
                      <a:pt x="161209" y="171824"/>
                    </a:lnTo>
                    <a:lnTo>
                      <a:pt x="159939" y="174364"/>
                    </a:lnTo>
                    <a:lnTo>
                      <a:pt x="159305" y="176588"/>
                    </a:lnTo>
                    <a:lnTo>
                      <a:pt x="158352" y="179128"/>
                    </a:lnTo>
                    <a:lnTo>
                      <a:pt x="158035" y="181669"/>
                    </a:lnTo>
                    <a:lnTo>
                      <a:pt x="157718" y="184210"/>
                    </a:lnTo>
                    <a:lnTo>
                      <a:pt x="157718" y="1440334"/>
                    </a:lnTo>
                    <a:lnTo>
                      <a:pt x="158352" y="1447639"/>
                    </a:lnTo>
                    <a:lnTo>
                      <a:pt x="159622" y="1454944"/>
                    </a:lnTo>
                    <a:lnTo>
                      <a:pt x="161526" y="1463202"/>
                    </a:lnTo>
                    <a:lnTo>
                      <a:pt x="164065" y="1471142"/>
                    </a:lnTo>
                    <a:lnTo>
                      <a:pt x="167238" y="1479717"/>
                    </a:lnTo>
                    <a:lnTo>
                      <a:pt x="171363" y="1488610"/>
                    </a:lnTo>
                    <a:lnTo>
                      <a:pt x="175806" y="1497185"/>
                    </a:lnTo>
                    <a:lnTo>
                      <a:pt x="181201" y="1506078"/>
                    </a:lnTo>
                    <a:lnTo>
                      <a:pt x="187230" y="1514336"/>
                    </a:lnTo>
                    <a:lnTo>
                      <a:pt x="193577" y="1522594"/>
                    </a:lnTo>
                    <a:lnTo>
                      <a:pt x="200876" y="1530534"/>
                    </a:lnTo>
                    <a:lnTo>
                      <a:pt x="208492" y="1538156"/>
                    </a:lnTo>
                    <a:lnTo>
                      <a:pt x="216743" y="1545143"/>
                    </a:lnTo>
                    <a:lnTo>
                      <a:pt x="225629" y="1551178"/>
                    </a:lnTo>
                    <a:lnTo>
                      <a:pt x="230389" y="1554354"/>
                    </a:lnTo>
                    <a:lnTo>
                      <a:pt x="235149" y="1557212"/>
                    </a:lnTo>
                    <a:lnTo>
                      <a:pt x="239909" y="1559753"/>
                    </a:lnTo>
                    <a:lnTo>
                      <a:pt x="244669" y="1561976"/>
                    </a:lnTo>
                    <a:lnTo>
                      <a:pt x="1018979" y="1561976"/>
                    </a:lnTo>
                    <a:lnTo>
                      <a:pt x="1018979" y="1559436"/>
                    </a:lnTo>
                    <a:lnTo>
                      <a:pt x="1028182" y="1554354"/>
                    </a:lnTo>
                    <a:lnTo>
                      <a:pt x="1037068" y="1548637"/>
                    </a:lnTo>
                    <a:lnTo>
                      <a:pt x="1045636" y="1542603"/>
                    </a:lnTo>
                    <a:lnTo>
                      <a:pt x="1053252" y="1535298"/>
                    </a:lnTo>
                    <a:lnTo>
                      <a:pt x="1060551" y="1527993"/>
                    </a:lnTo>
                    <a:lnTo>
                      <a:pt x="1067532" y="1520370"/>
                    </a:lnTo>
                    <a:lnTo>
                      <a:pt x="1073879" y="1512113"/>
                    </a:lnTo>
                    <a:lnTo>
                      <a:pt x="1079908" y="1504173"/>
                    </a:lnTo>
                    <a:lnTo>
                      <a:pt x="1084986" y="1495597"/>
                    </a:lnTo>
                    <a:lnTo>
                      <a:pt x="1089429" y="1487022"/>
                    </a:lnTo>
                    <a:lnTo>
                      <a:pt x="1093554" y="1479082"/>
                    </a:lnTo>
                    <a:lnTo>
                      <a:pt x="1096728" y="1470507"/>
                    </a:lnTo>
                    <a:lnTo>
                      <a:pt x="1099266" y="1462884"/>
                    </a:lnTo>
                    <a:lnTo>
                      <a:pt x="1101170" y="1454626"/>
                    </a:lnTo>
                    <a:lnTo>
                      <a:pt x="1102122" y="1447321"/>
                    </a:lnTo>
                    <a:lnTo>
                      <a:pt x="1102757" y="1440334"/>
                    </a:lnTo>
                    <a:lnTo>
                      <a:pt x="1102757" y="184210"/>
                    </a:lnTo>
                    <a:lnTo>
                      <a:pt x="1102122" y="181669"/>
                    </a:lnTo>
                    <a:lnTo>
                      <a:pt x="1101805" y="179128"/>
                    </a:lnTo>
                    <a:lnTo>
                      <a:pt x="1101170" y="176588"/>
                    </a:lnTo>
                    <a:lnTo>
                      <a:pt x="1100536" y="174364"/>
                    </a:lnTo>
                    <a:lnTo>
                      <a:pt x="1099266" y="171824"/>
                    </a:lnTo>
                    <a:lnTo>
                      <a:pt x="1097997" y="169918"/>
                    </a:lnTo>
                    <a:lnTo>
                      <a:pt x="1096410" y="167695"/>
                    </a:lnTo>
                    <a:lnTo>
                      <a:pt x="1094824" y="165789"/>
                    </a:lnTo>
                    <a:lnTo>
                      <a:pt x="1092919" y="163884"/>
                    </a:lnTo>
                    <a:lnTo>
                      <a:pt x="1090698" y="162613"/>
                    </a:lnTo>
                    <a:lnTo>
                      <a:pt x="1088794" y="161343"/>
                    </a:lnTo>
                    <a:lnTo>
                      <a:pt x="1086573" y="160390"/>
                    </a:lnTo>
                    <a:lnTo>
                      <a:pt x="1083716" y="159119"/>
                    </a:lnTo>
                    <a:lnTo>
                      <a:pt x="1081178" y="158484"/>
                    </a:lnTo>
                    <a:lnTo>
                      <a:pt x="1078639" y="158167"/>
                    </a:lnTo>
                    <a:lnTo>
                      <a:pt x="1076100" y="158167"/>
                    </a:lnTo>
                    <a:lnTo>
                      <a:pt x="184374" y="158167"/>
                    </a:lnTo>
                    <a:lnTo>
                      <a:pt x="181836" y="158167"/>
                    </a:lnTo>
                    <a:close/>
                    <a:moveTo>
                      <a:pt x="1414463" y="157162"/>
                    </a:moveTo>
                    <a:lnTo>
                      <a:pt x="2153497" y="157162"/>
                    </a:lnTo>
                    <a:lnTo>
                      <a:pt x="2161123" y="157162"/>
                    </a:lnTo>
                    <a:lnTo>
                      <a:pt x="2169066" y="158114"/>
                    </a:lnTo>
                    <a:lnTo>
                      <a:pt x="2176374" y="158749"/>
                    </a:lnTo>
                    <a:lnTo>
                      <a:pt x="2183364" y="160337"/>
                    </a:lnTo>
                    <a:lnTo>
                      <a:pt x="2190671" y="161924"/>
                    </a:lnTo>
                    <a:lnTo>
                      <a:pt x="2197661" y="163829"/>
                    </a:lnTo>
                    <a:lnTo>
                      <a:pt x="2204651" y="166052"/>
                    </a:lnTo>
                    <a:lnTo>
                      <a:pt x="2211324" y="168909"/>
                    </a:lnTo>
                    <a:lnTo>
                      <a:pt x="2217996" y="172084"/>
                    </a:lnTo>
                    <a:lnTo>
                      <a:pt x="2224350" y="174942"/>
                    </a:lnTo>
                    <a:lnTo>
                      <a:pt x="2230387" y="178752"/>
                    </a:lnTo>
                    <a:lnTo>
                      <a:pt x="2236424" y="182562"/>
                    </a:lnTo>
                    <a:lnTo>
                      <a:pt x="2242461" y="186689"/>
                    </a:lnTo>
                    <a:lnTo>
                      <a:pt x="2247862" y="191134"/>
                    </a:lnTo>
                    <a:lnTo>
                      <a:pt x="2253264" y="195579"/>
                    </a:lnTo>
                    <a:lnTo>
                      <a:pt x="2258665" y="200659"/>
                    </a:lnTo>
                    <a:lnTo>
                      <a:pt x="2263431" y="206057"/>
                    </a:lnTo>
                    <a:lnTo>
                      <a:pt x="2268197" y="211137"/>
                    </a:lnTo>
                    <a:lnTo>
                      <a:pt x="2272645" y="216852"/>
                    </a:lnTo>
                    <a:lnTo>
                      <a:pt x="2276776" y="222567"/>
                    </a:lnTo>
                    <a:lnTo>
                      <a:pt x="2280270" y="228917"/>
                    </a:lnTo>
                    <a:lnTo>
                      <a:pt x="2284083" y="234949"/>
                    </a:lnTo>
                    <a:lnTo>
                      <a:pt x="2287261" y="241299"/>
                    </a:lnTo>
                    <a:lnTo>
                      <a:pt x="2290438" y="247967"/>
                    </a:lnTo>
                    <a:lnTo>
                      <a:pt x="2292980" y="254634"/>
                    </a:lnTo>
                    <a:lnTo>
                      <a:pt x="2295204" y="261619"/>
                    </a:lnTo>
                    <a:lnTo>
                      <a:pt x="2297428" y="268604"/>
                    </a:lnTo>
                    <a:lnTo>
                      <a:pt x="2298699" y="275589"/>
                    </a:lnTo>
                    <a:lnTo>
                      <a:pt x="2300287" y="282892"/>
                    </a:lnTo>
                    <a:lnTo>
                      <a:pt x="2300923" y="290512"/>
                    </a:lnTo>
                    <a:lnTo>
                      <a:pt x="2301876" y="297814"/>
                    </a:lnTo>
                    <a:lnTo>
                      <a:pt x="2301876" y="305434"/>
                    </a:lnTo>
                    <a:lnTo>
                      <a:pt x="2301876" y="1484630"/>
                    </a:lnTo>
                    <a:lnTo>
                      <a:pt x="2301876" y="1497013"/>
                    </a:lnTo>
                    <a:lnTo>
                      <a:pt x="2300923" y="1509078"/>
                    </a:lnTo>
                    <a:lnTo>
                      <a:pt x="2299652" y="1521143"/>
                    </a:lnTo>
                    <a:lnTo>
                      <a:pt x="2298063" y="1533208"/>
                    </a:lnTo>
                    <a:lnTo>
                      <a:pt x="2295839" y="1544638"/>
                    </a:lnTo>
                    <a:lnTo>
                      <a:pt x="2292980" y="1555433"/>
                    </a:lnTo>
                    <a:lnTo>
                      <a:pt x="2289802" y="1566545"/>
                    </a:lnTo>
                    <a:lnTo>
                      <a:pt x="2285990" y="1577340"/>
                    </a:lnTo>
                    <a:lnTo>
                      <a:pt x="2281859" y="1587500"/>
                    </a:lnTo>
                    <a:lnTo>
                      <a:pt x="2277093" y="1597660"/>
                    </a:lnTo>
                    <a:lnTo>
                      <a:pt x="2271374" y="1607503"/>
                    </a:lnTo>
                    <a:lnTo>
                      <a:pt x="2265655" y="1616710"/>
                    </a:lnTo>
                    <a:lnTo>
                      <a:pt x="2259300" y="1625918"/>
                    </a:lnTo>
                    <a:lnTo>
                      <a:pt x="2252310" y="1634808"/>
                    </a:lnTo>
                    <a:lnTo>
                      <a:pt x="2244685" y="1643063"/>
                    </a:lnTo>
                    <a:lnTo>
                      <a:pt x="2236424" y="1651000"/>
                    </a:lnTo>
                    <a:lnTo>
                      <a:pt x="2227846" y="1658938"/>
                    </a:lnTo>
                    <a:lnTo>
                      <a:pt x="2218631" y="1665923"/>
                    </a:lnTo>
                    <a:lnTo>
                      <a:pt x="2208782" y="1672908"/>
                    </a:lnTo>
                    <a:lnTo>
                      <a:pt x="2198297" y="1678940"/>
                    </a:lnTo>
                    <a:lnTo>
                      <a:pt x="2187494" y="1684973"/>
                    </a:lnTo>
                    <a:lnTo>
                      <a:pt x="2176056" y="1690370"/>
                    </a:lnTo>
                    <a:lnTo>
                      <a:pt x="2163664" y="1695450"/>
                    </a:lnTo>
                    <a:lnTo>
                      <a:pt x="2150955" y="1700213"/>
                    </a:lnTo>
                    <a:lnTo>
                      <a:pt x="2137611" y="1704023"/>
                    </a:lnTo>
                    <a:lnTo>
                      <a:pt x="2123631" y="1707515"/>
                    </a:lnTo>
                    <a:lnTo>
                      <a:pt x="2108698" y="1710373"/>
                    </a:lnTo>
                    <a:lnTo>
                      <a:pt x="2093764" y="1712913"/>
                    </a:lnTo>
                    <a:lnTo>
                      <a:pt x="2077878" y="1715135"/>
                    </a:lnTo>
                    <a:lnTo>
                      <a:pt x="2061038" y="1716405"/>
                    </a:lnTo>
                    <a:lnTo>
                      <a:pt x="2044199" y="1717358"/>
                    </a:lnTo>
                    <a:lnTo>
                      <a:pt x="2026406" y="1717675"/>
                    </a:lnTo>
                    <a:lnTo>
                      <a:pt x="1563159" y="1717675"/>
                    </a:lnTo>
                    <a:lnTo>
                      <a:pt x="1551721" y="1717358"/>
                    </a:lnTo>
                    <a:lnTo>
                      <a:pt x="1540601" y="1716723"/>
                    </a:lnTo>
                    <a:lnTo>
                      <a:pt x="1529163" y="1715453"/>
                    </a:lnTo>
                    <a:lnTo>
                      <a:pt x="1518042" y="1714500"/>
                    </a:lnTo>
                    <a:lnTo>
                      <a:pt x="1506922" y="1712913"/>
                    </a:lnTo>
                    <a:lnTo>
                      <a:pt x="1495801" y="1710690"/>
                    </a:lnTo>
                    <a:lnTo>
                      <a:pt x="1485634" y="1709103"/>
                    </a:lnTo>
                    <a:lnTo>
                      <a:pt x="1475149" y="1706880"/>
                    </a:lnTo>
                    <a:lnTo>
                      <a:pt x="1456085" y="1701800"/>
                    </a:lnTo>
                    <a:lnTo>
                      <a:pt x="1439246" y="1697038"/>
                    </a:lnTo>
                    <a:lnTo>
                      <a:pt x="1424948" y="1692593"/>
                    </a:lnTo>
                    <a:lnTo>
                      <a:pt x="1414463" y="1688783"/>
                    </a:lnTo>
                    <a:lnTo>
                      <a:pt x="1414463" y="1342708"/>
                    </a:lnTo>
                    <a:lnTo>
                      <a:pt x="1416687" y="1347470"/>
                    </a:lnTo>
                    <a:lnTo>
                      <a:pt x="1419229" y="1352233"/>
                    </a:lnTo>
                    <a:lnTo>
                      <a:pt x="1422088" y="1357630"/>
                    </a:lnTo>
                    <a:lnTo>
                      <a:pt x="1425583" y="1362393"/>
                    </a:lnTo>
                    <a:lnTo>
                      <a:pt x="1429078" y="1367473"/>
                    </a:lnTo>
                    <a:lnTo>
                      <a:pt x="1433209" y="1372235"/>
                    </a:lnTo>
                    <a:lnTo>
                      <a:pt x="1437657" y="1376998"/>
                    </a:lnTo>
                    <a:lnTo>
                      <a:pt x="1442105" y="1381760"/>
                    </a:lnTo>
                    <a:lnTo>
                      <a:pt x="1446871" y="1386523"/>
                    </a:lnTo>
                    <a:lnTo>
                      <a:pt x="1451637" y="1390968"/>
                    </a:lnTo>
                    <a:lnTo>
                      <a:pt x="1456721" y="1395413"/>
                    </a:lnTo>
                    <a:lnTo>
                      <a:pt x="1462440" y="1399540"/>
                    </a:lnTo>
                    <a:lnTo>
                      <a:pt x="1467523" y="1403350"/>
                    </a:lnTo>
                    <a:lnTo>
                      <a:pt x="1472925" y="1406525"/>
                    </a:lnTo>
                    <a:lnTo>
                      <a:pt x="1478644" y="1410018"/>
                    </a:lnTo>
                    <a:lnTo>
                      <a:pt x="1484045" y="1412558"/>
                    </a:lnTo>
                    <a:lnTo>
                      <a:pt x="1484045" y="1413510"/>
                    </a:lnTo>
                    <a:lnTo>
                      <a:pt x="2108062" y="1413510"/>
                    </a:lnTo>
                    <a:lnTo>
                      <a:pt x="2108062" y="1410335"/>
                    </a:lnTo>
                    <a:lnTo>
                      <a:pt x="2115370" y="1406208"/>
                    </a:lnTo>
                    <a:lnTo>
                      <a:pt x="2122360" y="1401763"/>
                    </a:lnTo>
                    <a:lnTo>
                      <a:pt x="2129032" y="1396683"/>
                    </a:lnTo>
                    <a:lnTo>
                      <a:pt x="2135387" y="1390968"/>
                    </a:lnTo>
                    <a:lnTo>
                      <a:pt x="2141106" y="1385253"/>
                    </a:lnTo>
                    <a:lnTo>
                      <a:pt x="2146825" y="1378903"/>
                    </a:lnTo>
                    <a:lnTo>
                      <a:pt x="2151909" y="1372235"/>
                    </a:lnTo>
                    <a:lnTo>
                      <a:pt x="2156357" y="1365568"/>
                    </a:lnTo>
                    <a:lnTo>
                      <a:pt x="2160805" y="1358900"/>
                    </a:lnTo>
                    <a:lnTo>
                      <a:pt x="2163982" y="1352233"/>
                    </a:lnTo>
                    <a:lnTo>
                      <a:pt x="2167477" y="1345883"/>
                    </a:lnTo>
                    <a:lnTo>
                      <a:pt x="2170019" y="1339215"/>
                    </a:lnTo>
                    <a:lnTo>
                      <a:pt x="2172243" y="1332865"/>
                    </a:lnTo>
                    <a:lnTo>
                      <a:pt x="2173832" y="1326515"/>
                    </a:lnTo>
                    <a:lnTo>
                      <a:pt x="2174467" y="1320800"/>
                    </a:lnTo>
                    <a:lnTo>
                      <a:pt x="2174785" y="1315085"/>
                    </a:lnTo>
                    <a:lnTo>
                      <a:pt x="2174785" y="305434"/>
                    </a:lnTo>
                    <a:lnTo>
                      <a:pt x="2174467" y="301307"/>
                    </a:lnTo>
                    <a:lnTo>
                      <a:pt x="2172879" y="297497"/>
                    </a:lnTo>
                    <a:lnTo>
                      <a:pt x="2171290" y="293687"/>
                    </a:lnTo>
                    <a:lnTo>
                      <a:pt x="2168430" y="290829"/>
                    </a:lnTo>
                    <a:lnTo>
                      <a:pt x="2165571" y="288289"/>
                    </a:lnTo>
                    <a:lnTo>
                      <a:pt x="2162076" y="286067"/>
                    </a:lnTo>
                    <a:lnTo>
                      <a:pt x="2157945" y="284797"/>
                    </a:lnTo>
                    <a:lnTo>
                      <a:pt x="2153497" y="284479"/>
                    </a:lnTo>
                    <a:lnTo>
                      <a:pt x="1414463" y="284479"/>
                    </a:lnTo>
                    <a:lnTo>
                      <a:pt x="1414463" y="157162"/>
                    </a:lnTo>
                    <a:close/>
                    <a:moveTo>
                      <a:pt x="184374" y="0"/>
                    </a:moveTo>
                    <a:lnTo>
                      <a:pt x="1076100" y="0"/>
                    </a:lnTo>
                    <a:lnTo>
                      <a:pt x="1085621" y="317"/>
                    </a:lnTo>
                    <a:lnTo>
                      <a:pt x="1094824" y="953"/>
                    </a:lnTo>
                    <a:lnTo>
                      <a:pt x="1104026" y="1905"/>
                    </a:lnTo>
                    <a:lnTo>
                      <a:pt x="1113229" y="3494"/>
                    </a:lnTo>
                    <a:lnTo>
                      <a:pt x="1122115" y="5717"/>
                    </a:lnTo>
                    <a:lnTo>
                      <a:pt x="1131000" y="8258"/>
                    </a:lnTo>
                    <a:lnTo>
                      <a:pt x="1139568" y="11434"/>
                    </a:lnTo>
                    <a:lnTo>
                      <a:pt x="1147502" y="14610"/>
                    </a:lnTo>
                    <a:lnTo>
                      <a:pt x="1156070" y="18421"/>
                    </a:lnTo>
                    <a:lnTo>
                      <a:pt x="1163686" y="22232"/>
                    </a:lnTo>
                    <a:lnTo>
                      <a:pt x="1171620" y="26679"/>
                    </a:lnTo>
                    <a:lnTo>
                      <a:pt x="1178919" y="31443"/>
                    </a:lnTo>
                    <a:lnTo>
                      <a:pt x="1186217" y="36842"/>
                    </a:lnTo>
                    <a:lnTo>
                      <a:pt x="1193199" y="42241"/>
                    </a:lnTo>
                    <a:lnTo>
                      <a:pt x="1199863" y="47640"/>
                    </a:lnTo>
                    <a:lnTo>
                      <a:pt x="1206210" y="53993"/>
                    </a:lnTo>
                    <a:lnTo>
                      <a:pt x="1212557" y="60345"/>
                    </a:lnTo>
                    <a:lnTo>
                      <a:pt x="1218269" y="67014"/>
                    </a:lnTo>
                    <a:lnTo>
                      <a:pt x="1223981" y="74002"/>
                    </a:lnTo>
                    <a:lnTo>
                      <a:pt x="1229058" y="81306"/>
                    </a:lnTo>
                    <a:lnTo>
                      <a:pt x="1233818" y="88611"/>
                    </a:lnTo>
                    <a:lnTo>
                      <a:pt x="1238261" y="96551"/>
                    </a:lnTo>
                    <a:lnTo>
                      <a:pt x="1242387" y="104492"/>
                    </a:lnTo>
                    <a:lnTo>
                      <a:pt x="1245877" y="112749"/>
                    </a:lnTo>
                    <a:lnTo>
                      <a:pt x="1249368" y="121325"/>
                    </a:lnTo>
                    <a:lnTo>
                      <a:pt x="1252224" y="129582"/>
                    </a:lnTo>
                    <a:lnTo>
                      <a:pt x="1254446" y="138475"/>
                    </a:lnTo>
                    <a:lnTo>
                      <a:pt x="1256667" y="147368"/>
                    </a:lnTo>
                    <a:lnTo>
                      <a:pt x="1258254" y="156261"/>
                    </a:lnTo>
                    <a:lnTo>
                      <a:pt x="1259523" y="165472"/>
                    </a:lnTo>
                    <a:lnTo>
                      <a:pt x="1259840" y="175000"/>
                    </a:lnTo>
                    <a:lnTo>
                      <a:pt x="1260475" y="184210"/>
                    </a:lnTo>
                    <a:lnTo>
                      <a:pt x="1260475" y="1651541"/>
                    </a:lnTo>
                    <a:lnTo>
                      <a:pt x="1259840" y="1667103"/>
                    </a:lnTo>
                    <a:lnTo>
                      <a:pt x="1259206" y="1682348"/>
                    </a:lnTo>
                    <a:lnTo>
                      <a:pt x="1257936" y="1696958"/>
                    </a:lnTo>
                    <a:lnTo>
                      <a:pt x="1255715" y="1711886"/>
                    </a:lnTo>
                    <a:lnTo>
                      <a:pt x="1252542" y="1725860"/>
                    </a:lnTo>
                    <a:lnTo>
                      <a:pt x="1249368" y="1739835"/>
                    </a:lnTo>
                    <a:lnTo>
                      <a:pt x="1245243" y="1753492"/>
                    </a:lnTo>
                    <a:lnTo>
                      <a:pt x="1240483" y="1766831"/>
                    </a:lnTo>
                    <a:lnTo>
                      <a:pt x="1235405" y="1779535"/>
                    </a:lnTo>
                    <a:lnTo>
                      <a:pt x="1229376" y="1792239"/>
                    </a:lnTo>
                    <a:lnTo>
                      <a:pt x="1222712" y="1804308"/>
                    </a:lnTo>
                    <a:lnTo>
                      <a:pt x="1215413" y="1816060"/>
                    </a:lnTo>
                    <a:lnTo>
                      <a:pt x="1207162" y="1827493"/>
                    </a:lnTo>
                    <a:lnTo>
                      <a:pt x="1198594" y="1838292"/>
                    </a:lnTo>
                    <a:lnTo>
                      <a:pt x="1189391" y="1848773"/>
                    </a:lnTo>
                    <a:lnTo>
                      <a:pt x="1179236" y="1858619"/>
                    </a:lnTo>
                    <a:lnTo>
                      <a:pt x="1168129" y="1868147"/>
                    </a:lnTo>
                    <a:lnTo>
                      <a:pt x="1156705" y="1877040"/>
                    </a:lnTo>
                    <a:lnTo>
                      <a:pt x="1144646" y="1885615"/>
                    </a:lnTo>
                    <a:lnTo>
                      <a:pt x="1131635" y="1893555"/>
                    </a:lnTo>
                    <a:lnTo>
                      <a:pt x="1117989" y="1900860"/>
                    </a:lnTo>
                    <a:lnTo>
                      <a:pt x="1103709" y="1907530"/>
                    </a:lnTo>
                    <a:lnTo>
                      <a:pt x="1088794" y="1913882"/>
                    </a:lnTo>
                    <a:lnTo>
                      <a:pt x="1072927" y="1919599"/>
                    </a:lnTo>
                    <a:lnTo>
                      <a:pt x="1056108" y="1924680"/>
                    </a:lnTo>
                    <a:lnTo>
                      <a:pt x="1038654" y="1929127"/>
                    </a:lnTo>
                    <a:lnTo>
                      <a:pt x="1020566" y="1932620"/>
                    </a:lnTo>
                    <a:lnTo>
                      <a:pt x="1001526" y="1936114"/>
                    </a:lnTo>
                    <a:lnTo>
                      <a:pt x="981851" y="1938337"/>
                    </a:lnTo>
                    <a:lnTo>
                      <a:pt x="961541" y="1940243"/>
                    </a:lnTo>
                    <a:lnTo>
                      <a:pt x="940279" y="1941196"/>
                    </a:lnTo>
                    <a:lnTo>
                      <a:pt x="918065" y="1941513"/>
                    </a:lnTo>
                    <a:lnTo>
                      <a:pt x="342410" y="1941513"/>
                    </a:lnTo>
                    <a:lnTo>
                      <a:pt x="321148" y="1941196"/>
                    </a:lnTo>
                    <a:lnTo>
                      <a:pt x="300839" y="1940243"/>
                    </a:lnTo>
                    <a:lnTo>
                      <a:pt x="280846" y="1938337"/>
                    </a:lnTo>
                    <a:lnTo>
                      <a:pt x="261806" y="1936114"/>
                    </a:lnTo>
                    <a:lnTo>
                      <a:pt x="242765" y="1932938"/>
                    </a:lnTo>
                    <a:lnTo>
                      <a:pt x="225311" y="1929444"/>
                    </a:lnTo>
                    <a:lnTo>
                      <a:pt x="208175" y="1924998"/>
                    </a:lnTo>
                    <a:lnTo>
                      <a:pt x="191673" y="1920234"/>
                    </a:lnTo>
                    <a:lnTo>
                      <a:pt x="175806" y="1914517"/>
                    </a:lnTo>
                    <a:lnTo>
                      <a:pt x="160574" y="1908800"/>
                    </a:lnTo>
                    <a:lnTo>
                      <a:pt x="146294" y="1902130"/>
                    </a:lnTo>
                    <a:lnTo>
                      <a:pt x="132648" y="1894825"/>
                    </a:lnTo>
                    <a:lnTo>
                      <a:pt x="119954" y="1886885"/>
                    </a:lnTo>
                    <a:lnTo>
                      <a:pt x="107261" y="1878628"/>
                    </a:lnTo>
                    <a:lnTo>
                      <a:pt x="95836" y="1869735"/>
                    </a:lnTo>
                    <a:lnTo>
                      <a:pt x="84730" y="1860524"/>
                    </a:lnTo>
                    <a:lnTo>
                      <a:pt x="74575" y="1850361"/>
                    </a:lnTo>
                    <a:lnTo>
                      <a:pt x="64737" y="1840198"/>
                    </a:lnTo>
                    <a:lnTo>
                      <a:pt x="55534" y="1829399"/>
                    </a:lnTo>
                    <a:lnTo>
                      <a:pt x="47601" y="1817965"/>
                    </a:lnTo>
                    <a:lnTo>
                      <a:pt x="39985" y="1806532"/>
                    </a:lnTo>
                    <a:lnTo>
                      <a:pt x="32686" y="1794463"/>
                    </a:lnTo>
                    <a:lnTo>
                      <a:pt x="26656" y="1781758"/>
                    </a:lnTo>
                    <a:lnTo>
                      <a:pt x="20944" y="1768419"/>
                    </a:lnTo>
                    <a:lnTo>
                      <a:pt x="16184" y="1755397"/>
                    </a:lnTo>
                    <a:lnTo>
                      <a:pt x="11741" y="1741740"/>
                    </a:lnTo>
                    <a:lnTo>
                      <a:pt x="8251" y="1727131"/>
                    </a:lnTo>
                    <a:lnTo>
                      <a:pt x="5077" y="1712838"/>
                    </a:lnTo>
                    <a:lnTo>
                      <a:pt x="2856" y="1698229"/>
                    </a:lnTo>
                    <a:lnTo>
                      <a:pt x="1269" y="1682984"/>
                    </a:lnTo>
                    <a:lnTo>
                      <a:pt x="317" y="1667421"/>
                    </a:lnTo>
                    <a:lnTo>
                      <a:pt x="0" y="1651541"/>
                    </a:lnTo>
                    <a:lnTo>
                      <a:pt x="0" y="184210"/>
                    </a:lnTo>
                    <a:lnTo>
                      <a:pt x="0" y="175000"/>
                    </a:lnTo>
                    <a:lnTo>
                      <a:pt x="634" y="165472"/>
                    </a:lnTo>
                    <a:lnTo>
                      <a:pt x="1904" y="156261"/>
                    </a:lnTo>
                    <a:lnTo>
                      <a:pt x="3808" y="147368"/>
                    </a:lnTo>
                    <a:lnTo>
                      <a:pt x="6029" y="138475"/>
                    </a:lnTo>
                    <a:lnTo>
                      <a:pt x="8251" y="129582"/>
                    </a:lnTo>
                    <a:lnTo>
                      <a:pt x="11107" y="121325"/>
                    </a:lnTo>
                    <a:lnTo>
                      <a:pt x="14280" y="112749"/>
                    </a:lnTo>
                    <a:lnTo>
                      <a:pt x="18088" y="104492"/>
                    </a:lnTo>
                    <a:lnTo>
                      <a:pt x="22214" y="96551"/>
                    </a:lnTo>
                    <a:lnTo>
                      <a:pt x="26656" y="88611"/>
                    </a:lnTo>
                    <a:lnTo>
                      <a:pt x="31416" y="81306"/>
                    </a:lnTo>
                    <a:lnTo>
                      <a:pt x="36494" y="74002"/>
                    </a:lnTo>
                    <a:lnTo>
                      <a:pt x="41889" y="67014"/>
                    </a:lnTo>
                    <a:lnTo>
                      <a:pt x="47918" y="60345"/>
                    </a:lnTo>
                    <a:lnTo>
                      <a:pt x="53948" y="53993"/>
                    </a:lnTo>
                    <a:lnTo>
                      <a:pt x="60612" y="47640"/>
                    </a:lnTo>
                    <a:lnTo>
                      <a:pt x="66959" y="42241"/>
                    </a:lnTo>
                    <a:lnTo>
                      <a:pt x="74257" y="36842"/>
                    </a:lnTo>
                    <a:lnTo>
                      <a:pt x="81556" y="31443"/>
                    </a:lnTo>
                    <a:lnTo>
                      <a:pt x="88855" y="26679"/>
                    </a:lnTo>
                    <a:lnTo>
                      <a:pt x="96471" y="22232"/>
                    </a:lnTo>
                    <a:lnTo>
                      <a:pt x="104405" y="18421"/>
                    </a:lnTo>
                    <a:lnTo>
                      <a:pt x="112338" y="14610"/>
                    </a:lnTo>
                    <a:lnTo>
                      <a:pt x="120906" y="11434"/>
                    </a:lnTo>
                    <a:lnTo>
                      <a:pt x="129475" y="8258"/>
                    </a:lnTo>
                    <a:lnTo>
                      <a:pt x="138360" y="5717"/>
                    </a:lnTo>
                    <a:lnTo>
                      <a:pt x="146928" y="3494"/>
                    </a:lnTo>
                    <a:lnTo>
                      <a:pt x="156131" y="1905"/>
                    </a:lnTo>
                    <a:lnTo>
                      <a:pt x="165651" y="953"/>
                    </a:lnTo>
                    <a:lnTo>
                      <a:pt x="174854" y="317"/>
                    </a:lnTo>
                    <a:lnTo>
                      <a:pt x="184374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txBody>
              <a:bodyPr anchor="ctr">
                <a:scene3d>
                  <a:camera prst="orthographicFront"/>
                  <a:lightRig rig="threePt" dir="t"/>
                </a:scene3d>
                <a:sp3d>
                  <a:contourClr>
                    <a:srgbClr val="FFFFFF"/>
                  </a:contourClr>
                </a:sp3d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115" name="文本框 114">
                <a:extLst>
                  <a:ext uri="{FF2B5EF4-FFF2-40B4-BE49-F238E27FC236}">
                    <a16:creationId xmlns:a16="http://schemas.microsoft.com/office/drawing/2014/main" id="{713A9C2A-8DB0-204D-974D-E4B9DF6CBADC}"/>
                  </a:ext>
                </a:extLst>
              </p:cNvPr>
              <p:cNvSpPr txBox="1"/>
              <p:nvPr/>
            </p:nvSpPr>
            <p:spPr>
              <a:xfrm>
                <a:off x="1729195" y="2474658"/>
                <a:ext cx="205184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zh-CN" altLang="en-US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线上</a:t>
                </a:r>
              </a:p>
            </p:txBody>
          </p:sp>
        </p:grpSp>
        <p:sp>
          <p:nvSpPr>
            <p:cNvPr id="117" name="圆角矩形 48">
              <a:extLst>
                <a:ext uri="{FF2B5EF4-FFF2-40B4-BE49-F238E27FC236}">
                  <a16:creationId xmlns:a16="http://schemas.microsoft.com/office/drawing/2014/main" id="{5423E4FE-988D-D543-A817-118D6CFD391E}"/>
                </a:ext>
              </a:extLst>
            </p:cNvPr>
            <p:cNvSpPr/>
            <p:nvPr/>
          </p:nvSpPr>
          <p:spPr>
            <a:xfrm rot="16200000">
              <a:off x="5615755" y="3287766"/>
              <a:ext cx="234331" cy="1169710"/>
            </a:xfrm>
            <a:prstGeom prst="roundRect">
              <a:avLst>
                <a:gd name="adj" fmla="val 16245"/>
              </a:avLst>
            </a:prstGeom>
            <a:solidFill>
              <a:schemeClr val="bg1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支付网关子系统</a:t>
              </a:r>
              <a:endParaRPr 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18" name="文本框 117">
              <a:extLst>
                <a:ext uri="{FF2B5EF4-FFF2-40B4-BE49-F238E27FC236}">
                  <a16:creationId xmlns:a16="http://schemas.microsoft.com/office/drawing/2014/main" id="{462EA5B3-F642-6140-AB53-FB03161B5CD3}"/>
                </a:ext>
              </a:extLst>
            </p:cNvPr>
            <p:cNvSpPr txBox="1"/>
            <p:nvPr/>
          </p:nvSpPr>
          <p:spPr>
            <a:xfrm>
              <a:off x="1207178" y="1820331"/>
              <a:ext cx="46166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9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业务系统</a:t>
              </a:r>
            </a:p>
          </p:txBody>
        </p:sp>
        <p:sp>
          <p:nvSpPr>
            <p:cNvPr id="124" name="圆角矩形 46">
              <a:extLst>
                <a:ext uri="{FF2B5EF4-FFF2-40B4-BE49-F238E27FC236}">
                  <a16:creationId xmlns:a16="http://schemas.microsoft.com/office/drawing/2014/main" id="{486274DF-2086-D147-983C-7DAC4D9ED71F}"/>
                </a:ext>
              </a:extLst>
            </p:cNvPr>
            <p:cNvSpPr/>
            <p:nvPr/>
          </p:nvSpPr>
          <p:spPr>
            <a:xfrm rot="16200000">
              <a:off x="1294688" y="2843121"/>
              <a:ext cx="261818" cy="102748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9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FSC</a:t>
              </a:r>
              <a:endParaRPr lang="zh-CN" altLang="en-US" sz="9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54" name="文本框 153">
              <a:extLst>
                <a:ext uri="{FF2B5EF4-FFF2-40B4-BE49-F238E27FC236}">
                  <a16:creationId xmlns:a16="http://schemas.microsoft.com/office/drawing/2014/main" id="{5AB9D372-A1C3-F94C-938D-CE9394690371}"/>
                </a:ext>
              </a:extLst>
            </p:cNvPr>
            <p:cNvSpPr txBox="1"/>
            <p:nvPr/>
          </p:nvSpPr>
          <p:spPr>
            <a:xfrm>
              <a:off x="2075954" y="3248854"/>
              <a:ext cx="307777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6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r>
                <a:rPr lang="zh-CN" altLang="en-US" dirty="0"/>
                <a:t>支付流水</a:t>
              </a:r>
            </a:p>
          </p:txBody>
        </p:sp>
        <p:sp>
          <p:nvSpPr>
            <p:cNvPr id="160" name="文本框 159">
              <a:extLst>
                <a:ext uri="{FF2B5EF4-FFF2-40B4-BE49-F238E27FC236}">
                  <a16:creationId xmlns:a16="http://schemas.microsoft.com/office/drawing/2014/main" id="{4A7D9B30-FBC9-B84C-BCC7-F85D43CD17E9}"/>
                </a:ext>
              </a:extLst>
            </p:cNvPr>
            <p:cNvSpPr txBox="1"/>
            <p:nvPr/>
          </p:nvSpPr>
          <p:spPr>
            <a:xfrm>
              <a:off x="2060920" y="3442366"/>
              <a:ext cx="36749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sz="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线下支付</a:t>
              </a:r>
              <a:endParaRPr lang="en-US" altLang="zh-CN" sz="6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数据收集</a:t>
              </a:r>
            </a:p>
          </p:txBody>
        </p:sp>
        <p:sp>
          <p:nvSpPr>
            <p:cNvPr id="161" name="圆角矩形 160">
              <a:extLst>
                <a:ext uri="{FF2B5EF4-FFF2-40B4-BE49-F238E27FC236}">
                  <a16:creationId xmlns:a16="http://schemas.microsoft.com/office/drawing/2014/main" id="{3C8923D0-CEB9-8F44-A4EA-DE64E2ED6F47}"/>
                </a:ext>
              </a:extLst>
            </p:cNvPr>
            <p:cNvSpPr/>
            <p:nvPr/>
          </p:nvSpPr>
          <p:spPr>
            <a:xfrm>
              <a:off x="7181105" y="1826479"/>
              <a:ext cx="1172393" cy="1883057"/>
            </a:xfrm>
            <a:prstGeom prst="roundRect">
              <a:avLst>
                <a:gd name="adj" fmla="val 3112"/>
              </a:avLst>
            </a:prstGeom>
            <a:noFill/>
            <a:ln w="6350">
              <a:solidFill>
                <a:srgbClr val="C0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4" name="下箭头 163">
              <a:extLst>
                <a:ext uri="{FF2B5EF4-FFF2-40B4-BE49-F238E27FC236}">
                  <a16:creationId xmlns:a16="http://schemas.microsoft.com/office/drawing/2014/main" id="{A7D18955-5B5F-DF40-B2EE-E83BB0BD6690}"/>
                </a:ext>
              </a:extLst>
            </p:cNvPr>
            <p:cNvSpPr/>
            <p:nvPr/>
          </p:nvSpPr>
          <p:spPr>
            <a:xfrm>
              <a:off x="3577966" y="1621381"/>
              <a:ext cx="262966" cy="205098"/>
            </a:xfrm>
            <a:prstGeom prst="downArrow">
              <a:avLst/>
            </a:prstGeom>
            <a:gradFill flip="none" rotWithShape="1">
              <a:gsLst>
                <a:gs pos="0">
                  <a:schemeClr val="accent6">
                    <a:lumMod val="0"/>
                    <a:lumOff val="100000"/>
                  </a:schemeClr>
                </a:gs>
                <a:gs pos="35000">
                  <a:schemeClr val="accent6">
                    <a:lumMod val="0"/>
                    <a:lumOff val="100000"/>
                  </a:schemeClr>
                </a:gs>
                <a:gs pos="100000">
                  <a:schemeClr val="accent6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5" name="下箭头 164">
              <a:extLst>
                <a:ext uri="{FF2B5EF4-FFF2-40B4-BE49-F238E27FC236}">
                  <a16:creationId xmlns:a16="http://schemas.microsoft.com/office/drawing/2014/main" id="{D06ADD2A-A962-BB47-B262-18C738900992}"/>
                </a:ext>
              </a:extLst>
            </p:cNvPr>
            <p:cNvSpPr/>
            <p:nvPr/>
          </p:nvSpPr>
          <p:spPr>
            <a:xfrm>
              <a:off x="5345561" y="1621381"/>
              <a:ext cx="262966" cy="205098"/>
            </a:xfrm>
            <a:prstGeom prst="downArrow">
              <a:avLst/>
            </a:prstGeom>
            <a:gradFill flip="none" rotWithShape="1">
              <a:gsLst>
                <a:gs pos="0">
                  <a:schemeClr val="accent6">
                    <a:lumMod val="0"/>
                    <a:lumOff val="100000"/>
                  </a:schemeClr>
                </a:gs>
                <a:gs pos="35000">
                  <a:schemeClr val="accent6">
                    <a:lumMod val="0"/>
                    <a:lumOff val="100000"/>
                  </a:schemeClr>
                </a:gs>
                <a:gs pos="100000">
                  <a:schemeClr val="accent6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0" name="文本框 169">
              <a:extLst>
                <a:ext uri="{FF2B5EF4-FFF2-40B4-BE49-F238E27FC236}">
                  <a16:creationId xmlns:a16="http://schemas.microsoft.com/office/drawing/2014/main" id="{DB408DD2-7EBB-C141-AF7B-4D3B685A0151}"/>
                </a:ext>
              </a:extLst>
            </p:cNvPr>
            <p:cNvSpPr txBox="1"/>
            <p:nvPr/>
          </p:nvSpPr>
          <p:spPr>
            <a:xfrm>
              <a:off x="6649751" y="3224450"/>
              <a:ext cx="518648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6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r>
                <a:rPr lang="zh-CN" altLang="en-US" dirty="0"/>
                <a:t>支付中心对账</a:t>
              </a:r>
            </a:p>
          </p:txBody>
        </p:sp>
        <p:cxnSp>
          <p:nvCxnSpPr>
            <p:cNvPr id="185" name="直接箭头连接符 24">
              <a:extLst>
                <a:ext uri="{FF2B5EF4-FFF2-40B4-BE49-F238E27FC236}">
                  <a16:creationId xmlns:a16="http://schemas.microsoft.com/office/drawing/2014/main" id="{79786EF3-9525-1048-969F-D19BE02ACC9E}"/>
                </a:ext>
              </a:extLst>
            </p:cNvPr>
            <p:cNvCxnSpPr>
              <a:stCxn id="80" idx="1"/>
              <a:endCxn id="81" idx="3"/>
            </p:cNvCxnSpPr>
            <p:nvPr/>
          </p:nvCxnSpPr>
          <p:spPr>
            <a:xfrm>
              <a:off x="3546824" y="2604809"/>
              <a:ext cx="612" cy="164306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" name="组合 1"/>
            <p:cNvGrpSpPr/>
            <p:nvPr/>
          </p:nvGrpSpPr>
          <p:grpSpPr>
            <a:xfrm>
              <a:off x="1468036" y="2377046"/>
              <a:ext cx="307777" cy="324805"/>
              <a:chOff x="-260896" y="2749517"/>
              <a:chExt cx="372410" cy="432314"/>
            </a:xfrm>
          </p:grpSpPr>
          <p:sp>
            <p:nvSpPr>
              <p:cNvPr id="73" name="椭圆 72"/>
              <p:cNvSpPr/>
              <p:nvPr/>
            </p:nvSpPr>
            <p:spPr>
              <a:xfrm>
                <a:off x="-226109" y="2749517"/>
                <a:ext cx="291184" cy="274699"/>
              </a:xfrm>
              <a:prstGeom prst="ellipse">
                <a:avLst/>
              </a:prstGeom>
              <a:solidFill>
                <a:srgbClr val="FFC0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65659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31318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96977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62636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282950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940175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4596765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5253355" algn="l" defTabSz="1313180" rtl="0" eaLnBrk="1" latinLnBrk="0" hangingPunct="1">
                  <a:defRPr sz="2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94" name="文本框 93"/>
              <p:cNvSpPr txBox="1"/>
              <p:nvPr/>
            </p:nvSpPr>
            <p:spPr>
              <a:xfrm>
                <a:off x="-260896" y="3032867"/>
                <a:ext cx="372410" cy="14896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zh-CN"/>
                </a:defPPr>
                <a:lvl1pPr>
                  <a:defRPr sz="800" b="1">
                    <a:solidFill>
                      <a:srgbClr val="7030A0"/>
                    </a:solidFill>
                    <a:latin typeface="微软雅黑" pitchFamily="34" charset="-122"/>
                    <a:ea typeface="微软雅黑" pitchFamily="34" charset="-122"/>
                  </a:defRPr>
                </a:lvl1pPr>
              </a:lstStyle>
              <a:p>
                <a:r>
                  <a:rPr lang="zh-CN" altLang="en-US" b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第三方</a:t>
                </a:r>
              </a:p>
            </p:txBody>
          </p:sp>
          <p:sp>
            <p:nvSpPr>
              <p:cNvPr id="95" name="Freeform 145"/>
              <p:cNvSpPr>
                <a:spLocks noChangeArrowheads="1"/>
              </p:cNvSpPr>
              <p:nvPr/>
            </p:nvSpPr>
            <p:spPr bwMode="auto">
              <a:xfrm>
                <a:off x="-154005" y="2831525"/>
                <a:ext cx="129810" cy="110682"/>
              </a:xfrm>
              <a:custGeom>
                <a:avLst/>
                <a:gdLst>
                  <a:gd name="T0" fmla="*/ 83990 w 444"/>
                  <a:gd name="T1" fmla="*/ 478860 h 445"/>
                  <a:gd name="T2" fmla="*/ 83990 w 444"/>
                  <a:gd name="T3" fmla="*/ 478860 h 445"/>
                  <a:gd name="T4" fmla="*/ 148782 w 444"/>
                  <a:gd name="T5" fmla="*/ 531535 h 445"/>
                  <a:gd name="T6" fmla="*/ 201576 w 444"/>
                  <a:gd name="T7" fmla="*/ 478860 h 445"/>
                  <a:gd name="T8" fmla="*/ 148782 w 444"/>
                  <a:gd name="T9" fmla="*/ 414214 h 445"/>
                  <a:gd name="T10" fmla="*/ 83990 w 444"/>
                  <a:gd name="T11" fmla="*/ 478860 h 445"/>
                  <a:gd name="T12" fmla="*/ 382754 w 444"/>
                  <a:gd name="T13" fmla="*/ 478860 h 445"/>
                  <a:gd name="T14" fmla="*/ 382754 w 444"/>
                  <a:gd name="T15" fmla="*/ 478860 h 445"/>
                  <a:gd name="T16" fmla="*/ 446346 w 444"/>
                  <a:gd name="T17" fmla="*/ 531535 h 445"/>
                  <a:gd name="T18" fmla="*/ 500340 w 444"/>
                  <a:gd name="T19" fmla="*/ 478860 h 445"/>
                  <a:gd name="T20" fmla="*/ 446346 w 444"/>
                  <a:gd name="T21" fmla="*/ 414214 h 445"/>
                  <a:gd name="T22" fmla="*/ 382754 w 444"/>
                  <a:gd name="T23" fmla="*/ 478860 h 445"/>
                  <a:gd name="T24" fmla="*/ 190777 w 444"/>
                  <a:gd name="T25" fmla="*/ 339991 h 445"/>
                  <a:gd name="T26" fmla="*/ 190777 w 444"/>
                  <a:gd name="T27" fmla="*/ 339991 h 445"/>
                  <a:gd name="T28" fmla="*/ 520737 w 444"/>
                  <a:gd name="T29" fmla="*/ 244219 h 445"/>
                  <a:gd name="T30" fmla="*/ 531536 w 444"/>
                  <a:gd name="T31" fmla="*/ 223867 h 445"/>
                  <a:gd name="T32" fmla="*/ 531536 w 444"/>
                  <a:gd name="T33" fmla="*/ 64646 h 445"/>
                  <a:gd name="T34" fmla="*/ 117586 w 444"/>
                  <a:gd name="T35" fmla="*/ 64646 h 445"/>
                  <a:gd name="T36" fmla="*/ 117586 w 444"/>
                  <a:gd name="T37" fmla="*/ 11972 h 445"/>
                  <a:gd name="T38" fmla="*/ 106787 w 444"/>
                  <a:gd name="T39" fmla="*/ 0 h 445"/>
                  <a:gd name="T40" fmla="*/ 10799 w 444"/>
                  <a:gd name="T41" fmla="*/ 0 h 445"/>
                  <a:gd name="T42" fmla="*/ 0 w 444"/>
                  <a:gd name="T43" fmla="*/ 11972 h 445"/>
                  <a:gd name="T44" fmla="*/ 0 w 444"/>
                  <a:gd name="T45" fmla="*/ 64646 h 445"/>
                  <a:gd name="T46" fmla="*/ 53994 w 444"/>
                  <a:gd name="T47" fmla="*/ 64646 h 445"/>
                  <a:gd name="T48" fmla="*/ 117586 w 444"/>
                  <a:gd name="T49" fmla="*/ 329216 h 445"/>
                  <a:gd name="T50" fmla="*/ 117586 w 444"/>
                  <a:gd name="T51" fmla="*/ 361539 h 445"/>
                  <a:gd name="T52" fmla="*/ 117586 w 444"/>
                  <a:gd name="T53" fmla="*/ 404637 h 445"/>
                  <a:gd name="T54" fmla="*/ 127185 w 444"/>
                  <a:gd name="T55" fmla="*/ 414214 h 445"/>
                  <a:gd name="T56" fmla="*/ 148782 w 444"/>
                  <a:gd name="T57" fmla="*/ 414214 h 445"/>
                  <a:gd name="T58" fmla="*/ 446346 w 444"/>
                  <a:gd name="T59" fmla="*/ 414214 h 445"/>
                  <a:gd name="T60" fmla="*/ 520737 w 444"/>
                  <a:gd name="T61" fmla="*/ 414214 h 445"/>
                  <a:gd name="T62" fmla="*/ 531536 w 444"/>
                  <a:gd name="T63" fmla="*/ 404637 h 445"/>
                  <a:gd name="T64" fmla="*/ 531536 w 444"/>
                  <a:gd name="T65" fmla="*/ 361539 h 445"/>
                  <a:gd name="T66" fmla="*/ 201576 w 444"/>
                  <a:gd name="T67" fmla="*/ 361539 h 445"/>
                  <a:gd name="T68" fmla="*/ 190777 w 444"/>
                  <a:gd name="T69" fmla="*/ 339991 h 44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44" h="445">
                    <a:moveTo>
                      <a:pt x="70" y="400"/>
                    </a:moveTo>
                    <a:lnTo>
                      <a:pt x="70" y="400"/>
                    </a:lnTo>
                    <a:cubicBezTo>
                      <a:pt x="70" y="426"/>
                      <a:pt x="98" y="444"/>
                      <a:pt x="124" y="444"/>
                    </a:cubicBezTo>
                    <a:cubicBezTo>
                      <a:pt x="151" y="444"/>
                      <a:pt x="168" y="426"/>
                      <a:pt x="168" y="400"/>
                    </a:cubicBezTo>
                    <a:cubicBezTo>
                      <a:pt x="168" y="373"/>
                      <a:pt x="151" y="346"/>
                      <a:pt x="124" y="346"/>
                    </a:cubicBezTo>
                    <a:cubicBezTo>
                      <a:pt x="98" y="346"/>
                      <a:pt x="70" y="373"/>
                      <a:pt x="70" y="400"/>
                    </a:cubicBezTo>
                    <a:close/>
                    <a:moveTo>
                      <a:pt x="319" y="400"/>
                    </a:moveTo>
                    <a:lnTo>
                      <a:pt x="319" y="400"/>
                    </a:lnTo>
                    <a:cubicBezTo>
                      <a:pt x="319" y="426"/>
                      <a:pt x="345" y="444"/>
                      <a:pt x="372" y="444"/>
                    </a:cubicBezTo>
                    <a:cubicBezTo>
                      <a:pt x="399" y="444"/>
                      <a:pt x="417" y="426"/>
                      <a:pt x="417" y="400"/>
                    </a:cubicBezTo>
                    <a:cubicBezTo>
                      <a:pt x="417" y="373"/>
                      <a:pt x="399" y="346"/>
                      <a:pt x="372" y="346"/>
                    </a:cubicBezTo>
                    <a:cubicBezTo>
                      <a:pt x="345" y="346"/>
                      <a:pt x="319" y="373"/>
                      <a:pt x="319" y="400"/>
                    </a:cubicBezTo>
                    <a:close/>
                    <a:moveTo>
                      <a:pt x="159" y="284"/>
                    </a:moveTo>
                    <a:lnTo>
                      <a:pt x="159" y="284"/>
                    </a:lnTo>
                    <a:cubicBezTo>
                      <a:pt x="434" y="204"/>
                      <a:pt x="434" y="204"/>
                      <a:pt x="434" y="204"/>
                    </a:cubicBezTo>
                    <a:cubicBezTo>
                      <a:pt x="443" y="204"/>
                      <a:pt x="443" y="195"/>
                      <a:pt x="443" y="187"/>
                    </a:cubicBezTo>
                    <a:cubicBezTo>
                      <a:pt x="443" y="54"/>
                      <a:pt x="443" y="54"/>
                      <a:pt x="443" y="54"/>
                    </a:cubicBezTo>
                    <a:cubicBezTo>
                      <a:pt x="98" y="54"/>
                      <a:pt x="98" y="54"/>
                      <a:pt x="98" y="54"/>
                    </a:cubicBezTo>
                    <a:cubicBezTo>
                      <a:pt x="98" y="10"/>
                      <a:pt x="98" y="10"/>
                      <a:pt x="98" y="10"/>
                    </a:cubicBezTo>
                    <a:lnTo>
                      <a:pt x="89" y="0"/>
                    </a:ln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10"/>
                      <a:pt x="0" y="10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45" y="54"/>
                      <a:pt x="45" y="54"/>
                      <a:pt x="45" y="54"/>
                    </a:cubicBezTo>
                    <a:cubicBezTo>
                      <a:pt x="98" y="275"/>
                      <a:pt x="98" y="275"/>
                      <a:pt x="98" y="275"/>
                    </a:cubicBezTo>
                    <a:cubicBezTo>
                      <a:pt x="98" y="302"/>
                      <a:pt x="98" y="302"/>
                      <a:pt x="98" y="302"/>
                    </a:cubicBezTo>
                    <a:cubicBezTo>
                      <a:pt x="98" y="338"/>
                      <a:pt x="98" y="338"/>
                      <a:pt x="98" y="338"/>
                    </a:cubicBezTo>
                    <a:cubicBezTo>
                      <a:pt x="98" y="346"/>
                      <a:pt x="106" y="346"/>
                      <a:pt x="106" y="346"/>
                    </a:cubicBezTo>
                    <a:cubicBezTo>
                      <a:pt x="124" y="346"/>
                      <a:pt x="124" y="346"/>
                      <a:pt x="124" y="346"/>
                    </a:cubicBezTo>
                    <a:cubicBezTo>
                      <a:pt x="372" y="346"/>
                      <a:pt x="372" y="346"/>
                      <a:pt x="372" y="346"/>
                    </a:cubicBezTo>
                    <a:cubicBezTo>
                      <a:pt x="434" y="346"/>
                      <a:pt x="434" y="346"/>
                      <a:pt x="434" y="346"/>
                    </a:cubicBezTo>
                    <a:cubicBezTo>
                      <a:pt x="443" y="346"/>
                      <a:pt x="443" y="346"/>
                      <a:pt x="443" y="338"/>
                    </a:cubicBezTo>
                    <a:cubicBezTo>
                      <a:pt x="443" y="302"/>
                      <a:pt x="443" y="302"/>
                      <a:pt x="443" y="302"/>
                    </a:cubicBezTo>
                    <a:cubicBezTo>
                      <a:pt x="168" y="302"/>
                      <a:pt x="168" y="302"/>
                      <a:pt x="168" y="302"/>
                    </a:cubicBezTo>
                    <a:cubicBezTo>
                      <a:pt x="133" y="302"/>
                      <a:pt x="133" y="284"/>
                      <a:pt x="159" y="284"/>
                    </a:cubicBezTo>
                    <a:close/>
                  </a:path>
                </a:pathLst>
              </a:custGeom>
              <a:solidFill>
                <a:srgbClr val="BD392F"/>
              </a:solidFill>
              <a:ln>
                <a:noFill/>
              </a:ln>
              <a:effectLst/>
            </p:spPr>
            <p:txBody>
              <a:bodyPr wrap="none" lIns="34290" tIns="17145" rIns="34290" bIns="17145" anchor="ctr"/>
              <a:lstStyle/>
              <a:p>
                <a:pPr>
                  <a:defRPr/>
                </a:pPr>
                <a:endParaRPr lang="zh-CN" altLang="en-US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sp>
          <p:nvSpPr>
            <p:cNvPr id="97" name="椭圆 96"/>
            <p:cNvSpPr/>
            <p:nvPr/>
          </p:nvSpPr>
          <p:spPr>
            <a:xfrm>
              <a:off x="1040003" y="2374578"/>
              <a:ext cx="240648" cy="20638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5659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31318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6977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62636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28295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940175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596765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5253355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98" name="文本框 97"/>
            <p:cNvSpPr txBox="1"/>
            <p:nvPr/>
          </p:nvSpPr>
          <p:spPr>
            <a:xfrm>
              <a:off x="1063611" y="2586502"/>
              <a:ext cx="205184" cy="1119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zh-CN"/>
              </a:defPPr>
              <a:lvl1pPr>
                <a:defRPr sz="800" b="1">
                  <a:solidFill>
                    <a:srgbClr val="7030A0"/>
                  </a:solidFill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r>
                <a:rPr lang="zh-CN" altLang="en-US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自营</a:t>
              </a:r>
            </a:p>
          </p:txBody>
        </p:sp>
        <p:pic>
          <p:nvPicPr>
            <p:cNvPr id="100" name="图片 4">
              <a:extLst>
                <a:ext uri="{FF2B5EF4-FFF2-40B4-BE49-F238E27FC236}">
                  <a16:creationId xmlns:a16="http://schemas.microsoft.com/office/drawing/2014/main" id="{4FFC1586-2507-43BC-869C-438B9AB01E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7" r="15415" b="24538"/>
            <a:stretch/>
          </p:blipFill>
          <p:spPr>
            <a:xfrm>
              <a:off x="1100488" y="2421280"/>
              <a:ext cx="116971" cy="112983"/>
            </a:xfrm>
            <a:prstGeom prst="rect">
              <a:avLst/>
            </a:prstGeom>
          </p:spPr>
        </p:pic>
        <p:cxnSp>
          <p:nvCxnSpPr>
            <p:cNvPr id="17" name="直线箭头连接符 16">
              <a:extLst>
                <a:ext uri="{FF2B5EF4-FFF2-40B4-BE49-F238E27FC236}">
                  <a16:creationId xmlns:a16="http://schemas.microsoft.com/office/drawing/2014/main" id="{C00F3564-958C-5444-ADAB-8B601B3BBD36}"/>
                </a:ext>
              </a:extLst>
            </p:cNvPr>
            <p:cNvCxnSpPr/>
            <p:nvPr/>
          </p:nvCxnSpPr>
          <p:spPr>
            <a:xfrm>
              <a:off x="1973089" y="3388543"/>
              <a:ext cx="448703" cy="1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直线箭头连接符 95">
              <a:extLst>
                <a:ext uri="{FF2B5EF4-FFF2-40B4-BE49-F238E27FC236}">
                  <a16:creationId xmlns:a16="http://schemas.microsoft.com/office/drawing/2014/main" id="{26D8771C-B340-AD44-A8FE-5376BCC0CBD9}"/>
                </a:ext>
              </a:extLst>
            </p:cNvPr>
            <p:cNvCxnSpPr/>
            <p:nvPr/>
          </p:nvCxnSpPr>
          <p:spPr>
            <a:xfrm flipH="1">
              <a:off x="6565966" y="3381706"/>
              <a:ext cx="593125" cy="897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直接箭头连接符 198">
              <a:extLst>
                <a:ext uri="{FF2B5EF4-FFF2-40B4-BE49-F238E27FC236}">
                  <a16:creationId xmlns:a16="http://schemas.microsoft.com/office/drawing/2014/main" id="{4D80CEB1-6A6B-864C-9E85-936F95AD8A52}"/>
                </a:ext>
              </a:extLst>
            </p:cNvPr>
            <p:cNvCxnSpPr>
              <a:cxnSpLocks/>
            </p:cNvCxnSpPr>
            <p:nvPr/>
          </p:nvCxnSpPr>
          <p:spPr>
            <a:xfrm>
              <a:off x="1967922" y="2580240"/>
              <a:ext cx="453870" cy="0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椭圆 100"/>
            <p:cNvSpPr/>
            <p:nvPr/>
          </p:nvSpPr>
          <p:spPr>
            <a:xfrm>
              <a:off x="1042732" y="2741568"/>
              <a:ext cx="240648" cy="20638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5659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31318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96977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62636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282950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940175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596765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5253355" algn="l" defTabSz="1313180" rtl="0" eaLnBrk="1" latinLnBrk="0" hangingPunct="1">
                <a:defRPr sz="2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02" name="文本框 101">
              <a:extLst>
                <a:ext uri="{FF2B5EF4-FFF2-40B4-BE49-F238E27FC236}">
                  <a16:creationId xmlns:a16="http://schemas.microsoft.com/office/drawing/2014/main" id="{4C6208F9-71EA-2F43-A30D-92E43060E6A2}"/>
                </a:ext>
              </a:extLst>
            </p:cNvPr>
            <p:cNvSpPr txBox="1"/>
            <p:nvPr/>
          </p:nvSpPr>
          <p:spPr>
            <a:xfrm>
              <a:off x="1055701" y="2974603"/>
              <a:ext cx="205184" cy="1119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点餐</a:t>
              </a:r>
            </a:p>
          </p:txBody>
        </p:sp>
        <p:sp>
          <p:nvSpPr>
            <p:cNvPr id="151" name="下箭头 150">
              <a:extLst>
                <a:ext uri="{FF2B5EF4-FFF2-40B4-BE49-F238E27FC236}">
                  <a16:creationId xmlns:a16="http://schemas.microsoft.com/office/drawing/2014/main" id="{A7D18955-5B5F-DF40-B2EE-E83BB0BD6690}"/>
                </a:ext>
              </a:extLst>
            </p:cNvPr>
            <p:cNvSpPr/>
            <p:nvPr/>
          </p:nvSpPr>
          <p:spPr>
            <a:xfrm>
              <a:off x="3577966" y="4175771"/>
              <a:ext cx="262966" cy="186452"/>
            </a:xfrm>
            <a:prstGeom prst="downArrow">
              <a:avLst/>
            </a:prstGeom>
            <a:gradFill flip="none" rotWithShape="1">
              <a:gsLst>
                <a:gs pos="0">
                  <a:schemeClr val="accent6">
                    <a:lumMod val="0"/>
                    <a:lumOff val="100000"/>
                  </a:schemeClr>
                </a:gs>
                <a:gs pos="35000">
                  <a:schemeClr val="accent6">
                    <a:lumMod val="0"/>
                    <a:lumOff val="100000"/>
                  </a:schemeClr>
                </a:gs>
                <a:gs pos="100000">
                  <a:schemeClr val="accent6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2" name="下箭头 151">
              <a:extLst>
                <a:ext uri="{FF2B5EF4-FFF2-40B4-BE49-F238E27FC236}">
                  <a16:creationId xmlns:a16="http://schemas.microsoft.com/office/drawing/2014/main" id="{D06ADD2A-A962-BB47-B262-18C738900992}"/>
                </a:ext>
              </a:extLst>
            </p:cNvPr>
            <p:cNvSpPr/>
            <p:nvPr/>
          </p:nvSpPr>
          <p:spPr>
            <a:xfrm>
              <a:off x="5345561" y="4175769"/>
              <a:ext cx="262966" cy="186452"/>
            </a:xfrm>
            <a:prstGeom prst="downArrow">
              <a:avLst/>
            </a:prstGeom>
            <a:gradFill flip="none" rotWithShape="1">
              <a:gsLst>
                <a:gs pos="0">
                  <a:schemeClr val="accent6">
                    <a:lumMod val="0"/>
                    <a:lumOff val="100000"/>
                  </a:schemeClr>
                </a:gs>
                <a:gs pos="35000">
                  <a:schemeClr val="accent6">
                    <a:lumMod val="0"/>
                    <a:lumOff val="100000"/>
                  </a:schemeClr>
                </a:gs>
                <a:gs pos="100000">
                  <a:schemeClr val="accent6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68" name="组合 167"/>
            <p:cNvGrpSpPr/>
            <p:nvPr/>
          </p:nvGrpSpPr>
          <p:grpSpPr>
            <a:xfrm>
              <a:off x="1102230" y="2785296"/>
              <a:ext cx="135524" cy="102037"/>
              <a:chOff x="958851" y="1020763"/>
              <a:chExt cx="750888" cy="752475"/>
            </a:xfrm>
            <a:solidFill>
              <a:schemeClr val="accent1">
                <a:lumMod val="75000"/>
              </a:schemeClr>
            </a:solidFill>
          </p:grpSpPr>
          <p:sp>
            <p:nvSpPr>
              <p:cNvPr id="171" name="Freeform 5"/>
              <p:cNvSpPr>
                <a:spLocks noEditPoints="1"/>
              </p:cNvSpPr>
              <p:nvPr/>
            </p:nvSpPr>
            <p:spPr bwMode="auto">
              <a:xfrm>
                <a:off x="958851" y="1020763"/>
                <a:ext cx="750888" cy="398463"/>
              </a:xfrm>
              <a:custGeom>
                <a:avLst/>
                <a:gdLst>
                  <a:gd name="T0" fmla="*/ 236 w 473"/>
                  <a:gd name="T1" fmla="*/ 0 h 251"/>
                  <a:gd name="T2" fmla="*/ 142 w 473"/>
                  <a:gd name="T3" fmla="*/ 95 h 251"/>
                  <a:gd name="T4" fmla="*/ 142 w 473"/>
                  <a:gd name="T5" fmla="*/ 57 h 251"/>
                  <a:gd name="T6" fmla="*/ 66 w 473"/>
                  <a:gd name="T7" fmla="*/ 57 h 251"/>
                  <a:gd name="T8" fmla="*/ 66 w 473"/>
                  <a:gd name="T9" fmla="*/ 171 h 251"/>
                  <a:gd name="T10" fmla="*/ 0 w 473"/>
                  <a:gd name="T11" fmla="*/ 237 h 251"/>
                  <a:gd name="T12" fmla="*/ 11 w 473"/>
                  <a:gd name="T13" fmla="*/ 251 h 251"/>
                  <a:gd name="T14" fmla="*/ 236 w 473"/>
                  <a:gd name="T15" fmla="*/ 26 h 251"/>
                  <a:gd name="T16" fmla="*/ 458 w 473"/>
                  <a:gd name="T17" fmla="*/ 251 h 251"/>
                  <a:gd name="T18" fmla="*/ 473 w 473"/>
                  <a:gd name="T19" fmla="*/ 237 h 251"/>
                  <a:gd name="T20" fmla="*/ 236 w 473"/>
                  <a:gd name="T21" fmla="*/ 0 h 251"/>
                  <a:gd name="T22" fmla="*/ 85 w 473"/>
                  <a:gd name="T23" fmla="*/ 76 h 251"/>
                  <a:gd name="T24" fmla="*/ 123 w 473"/>
                  <a:gd name="T25" fmla="*/ 76 h 251"/>
                  <a:gd name="T26" fmla="*/ 123 w 473"/>
                  <a:gd name="T27" fmla="*/ 114 h 251"/>
                  <a:gd name="T28" fmla="*/ 85 w 473"/>
                  <a:gd name="T29" fmla="*/ 152 h 251"/>
                  <a:gd name="T30" fmla="*/ 85 w 473"/>
                  <a:gd name="T31" fmla="*/ 76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73" h="251">
                    <a:moveTo>
                      <a:pt x="236" y="0"/>
                    </a:moveTo>
                    <a:lnTo>
                      <a:pt x="142" y="95"/>
                    </a:lnTo>
                    <a:lnTo>
                      <a:pt x="142" y="57"/>
                    </a:lnTo>
                    <a:lnTo>
                      <a:pt x="66" y="57"/>
                    </a:lnTo>
                    <a:lnTo>
                      <a:pt x="66" y="171"/>
                    </a:lnTo>
                    <a:lnTo>
                      <a:pt x="0" y="237"/>
                    </a:lnTo>
                    <a:lnTo>
                      <a:pt x="11" y="251"/>
                    </a:lnTo>
                    <a:lnTo>
                      <a:pt x="236" y="26"/>
                    </a:lnTo>
                    <a:lnTo>
                      <a:pt x="458" y="251"/>
                    </a:lnTo>
                    <a:lnTo>
                      <a:pt x="473" y="237"/>
                    </a:lnTo>
                    <a:lnTo>
                      <a:pt x="236" y="0"/>
                    </a:lnTo>
                    <a:close/>
                    <a:moveTo>
                      <a:pt x="85" y="76"/>
                    </a:moveTo>
                    <a:lnTo>
                      <a:pt x="123" y="76"/>
                    </a:lnTo>
                    <a:lnTo>
                      <a:pt x="123" y="114"/>
                    </a:lnTo>
                    <a:lnTo>
                      <a:pt x="85" y="152"/>
                    </a:lnTo>
                    <a:lnTo>
                      <a:pt x="85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75" name="Freeform 6"/>
              <p:cNvSpPr>
                <a:spLocks noEditPoints="1"/>
              </p:cNvSpPr>
              <p:nvPr/>
            </p:nvSpPr>
            <p:spPr bwMode="auto">
              <a:xfrm>
                <a:off x="1063626" y="1141413"/>
                <a:ext cx="539750" cy="631825"/>
              </a:xfrm>
              <a:custGeom>
                <a:avLst/>
                <a:gdLst>
                  <a:gd name="T0" fmla="*/ 0 w 340"/>
                  <a:gd name="T1" fmla="*/ 171 h 398"/>
                  <a:gd name="T2" fmla="*/ 0 w 340"/>
                  <a:gd name="T3" fmla="*/ 398 h 398"/>
                  <a:gd name="T4" fmla="*/ 132 w 340"/>
                  <a:gd name="T5" fmla="*/ 398 h 398"/>
                  <a:gd name="T6" fmla="*/ 132 w 340"/>
                  <a:gd name="T7" fmla="*/ 265 h 398"/>
                  <a:gd name="T8" fmla="*/ 208 w 340"/>
                  <a:gd name="T9" fmla="*/ 265 h 398"/>
                  <a:gd name="T10" fmla="*/ 208 w 340"/>
                  <a:gd name="T11" fmla="*/ 398 h 398"/>
                  <a:gd name="T12" fmla="*/ 340 w 340"/>
                  <a:gd name="T13" fmla="*/ 398 h 398"/>
                  <a:gd name="T14" fmla="*/ 340 w 340"/>
                  <a:gd name="T15" fmla="*/ 171 h 398"/>
                  <a:gd name="T16" fmla="*/ 170 w 340"/>
                  <a:gd name="T17" fmla="*/ 0 h 398"/>
                  <a:gd name="T18" fmla="*/ 0 w 340"/>
                  <a:gd name="T19" fmla="*/ 171 h 398"/>
                  <a:gd name="T20" fmla="*/ 321 w 340"/>
                  <a:gd name="T21" fmla="*/ 379 h 398"/>
                  <a:gd name="T22" fmla="*/ 227 w 340"/>
                  <a:gd name="T23" fmla="*/ 379 h 398"/>
                  <a:gd name="T24" fmla="*/ 227 w 340"/>
                  <a:gd name="T25" fmla="*/ 265 h 398"/>
                  <a:gd name="T26" fmla="*/ 227 w 340"/>
                  <a:gd name="T27" fmla="*/ 246 h 398"/>
                  <a:gd name="T28" fmla="*/ 208 w 340"/>
                  <a:gd name="T29" fmla="*/ 246 h 398"/>
                  <a:gd name="T30" fmla="*/ 132 w 340"/>
                  <a:gd name="T31" fmla="*/ 246 h 398"/>
                  <a:gd name="T32" fmla="*/ 113 w 340"/>
                  <a:gd name="T33" fmla="*/ 246 h 398"/>
                  <a:gd name="T34" fmla="*/ 113 w 340"/>
                  <a:gd name="T35" fmla="*/ 265 h 398"/>
                  <a:gd name="T36" fmla="*/ 113 w 340"/>
                  <a:gd name="T37" fmla="*/ 379 h 398"/>
                  <a:gd name="T38" fmla="*/ 19 w 340"/>
                  <a:gd name="T39" fmla="*/ 379 h 398"/>
                  <a:gd name="T40" fmla="*/ 19 w 340"/>
                  <a:gd name="T41" fmla="*/ 178 h 398"/>
                  <a:gd name="T42" fmla="*/ 170 w 340"/>
                  <a:gd name="T43" fmla="*/ 26 h 398"/>
                  <a:gd name="T44" fmla="*/ 321 w 340"/>
                  <a:gd name="T45" fmla="*/ 178 h 398"/>
                  <a:gd name="T46" fmla="*/ 321 w 340"/>
                  <a:gd name="T47" fmla="*/ 379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40" h="398">
                    <a:moveTo>
                      <a:pt x="0" y="171"/>
                    </a:moveTo>
                    <a:lnTo>
                      <a:pt x="0" y="398"/>
                    </a:lnTo>
                    <a:lnTo>
                      <a:pt x="132" y="398"/>
                    </a:lnTo>
                    <a:lnTo>
                      <a:pt x="132" y="265"/>
                    </a:lnTo>
                    <a:lnTo>
                      <a:pt x="208" y="265"/>
                    </a:lnTo>
                    <a:lnTo>
                      <a:pt x="208" y="398"/>
                    </a:lnTo>
                    <a:lnTo>
                      <a:pt x="340" y="398"/>
                    </a:lnTo>
                    <a:lnTo>
                      <a:pt x="340" y="171"/>
                    </a:lnTo>
                    <a:lnTo>
                      <a:pt x="170" y="0"/>
                    </a:lnTo>
                    <a:lnTo>
                      <a:pt x="0" y="171"/>
                    </a:lnTo>
                    <a:close/>
                    <a:moveTo>
                      <a:pt x="321" y="379"/>
                    </a:moveTo>
                    <a:lnTo>
                      <a:pt x="227" y="379"/>
                    </a:lnTo>
                    <a:lnTo>
                      <a:pt x="227" y="265"/>
                    </a:lnTo>
                    <a:lnTo>
                      <a:pt x="227" y="246"/>
                    </a:lnTo>
                    <a:lnTo>
                      <a:pt x="208" y="246"/>
                    </a:lnTo>
                    <a:lnTo>
                      <a:pt x="132" y="246"/>
                    </a:lnTo>
                    <a:lnTo>
                      <a:pt x="113" y="246"/>
                    </a:lnTo>
                    <a:lnTo>
                      <a:pt x="113" y="265"/>
                    </a:lnTo>
                    <a:lnTo>
                      <a:pt x="113" y="379"/>
                    </a:lnTo>
                    <a:lnTo>
                      <a:pt x="19" y="379"/>
                    </a:lnTo>
                    <a:lnTo>
                      <a:pt x="19" y="178"/>
                    </a:lnTo>
                    <a:lnTo>
                      <a:pt x="170" y="26"/>
                    </a:lnTo>
                    <a:lnTo>
                      <a:pt x="321" y="178"/>
                    </a:lnTo>
                    <a:lnTo>
                      <a:pt x="321" y="3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104" name="圆角矩形 46">
              <a:extLst>
                <a:ext uri="{FF2B5EF4-FFF2-40B4-BE49-F238E27FC236}">
                  <a16:creationId xmlns:a16="http://schemas.microsoft.com/office/drawing/2014/main" id="{F6372848-6521-6D43-8AC6-4C1ED421D832}"/>
                </a:ext>
              </a:extLst>
            </p:cNvPr>
            <p:cNvSpPr/>
            <p:nvPr/>
          </p:nvSpPr>
          <p:spPr>
            <a:xfrm rot="16200000">
              <a:off x="3306148" y="2650682"/>
              <a:ext cx="446849" cy="1585124"/>
            </a:xfrm>
            <a:prstGeom prst="roundRect">
              <a:avLst>
                <a:gd name="adj" fmla="val 8186"/>
              </a:avLst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账务核心子系统</a:t>
              </a:r>
            </a:p>
          </p:txBody>
        </p:sp>
        <p:cxnSp>
          <p:nvCxnSpPr>
            <p:cNvPr id="116" name="直线箭头连接符 16">
              <a:extLst>
                <a:ext uri="{FF2B5EF4-FFF2-40B4-BE49-F238E27FC236}">
                  <a16:creationId xmlns:a16="http://schemas.microsoft.com/office/drawing/2014/main" id="{C00F3564-958C-5444-ADAB-8B601B3BBD36}"/>
                </a:ext>
              </a:extLst>
            </p:cNvPr>
            <p:cNvCxnSpPr/>
            <p:nvPr/>
          </p:nvCxnSpPr>
          <p:spPr>
            <a:xfrm>
              <a:off x="1979712" y="3693167"/>
              <a:ext cx="448703" cy="1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圆角矩形 46">
              <a:extLst>
                <a:ext uri="{FF2B5EF4-FFF2-40B4-BE49-F238E27FC236}">
                  <a16:creationId xmlns:a16="http://schemas.microsoft.com/office/drawing/2014/main" id="{486274DF-2086-D147-983C-7DAC4D9ED71F}"/>
                </a:ext>
              </a:extLst>
            </p:cNvPr>
            <p:cNvSpPr/>
            <p:nvPr/>
          </p:nvSpPr>
          <p:spPr>
            <a:xfrm rot="16200000">
              <a:off x="1294108" y="3151234"/>
              <a:ext cx="261818" cy="102748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en-US" altLang="zh-CN" sz="9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OH</a:t>
              </a:r>
              <a:endParaRPr lang="zh-CN" altLang="en-US" sz="9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25" name="圆角矩形 46">
              <a:extLst>
                <a:ext uri="{FF2B5EF4-FFF2-40B4-BE49-F238E27FC236}">
                  <a16:creationId xmlns:a16="http://schemas.microsoft.com/office/drawing/2014/main" id="{4D177952-FB86-BC48-8A7F-73D1574FD9FF}"/>
                </a:ext>
              </a:extLst>
            </p:cNvPr>
            <p:cNvSpPr/>
            <p:nvPr/>
          </p:nvSpPr>
          <p:spPr>
            <a:xfrm rot="16200000">
              <a:off x="5292373" y="2048739"/>
              <a:ext cx="305026" cy="17457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支付核心子系统</a:t>
              </a:r>
            </a:p>
          </p:txBody>
        </p:sp>
        <p:sp>
          <p:nvSpPr>
            <p:cNvPr id="126" name="圆角矩形 46">
              <a:extLst>
                <a:ext uri="{FF2B5EF4-FFF2-40B4-BE49-F238E27FC236}">
                  <a16:creationId xmlns:a16="http://schemas.microsoft.com/office/drawing/2014/main" id="{4D177952-FB86-BC48-8A7F-73D1574FD9FF}"/>
                </a:ext>
              </a:extLst>
            </p:cNvPr>
            <p:cNvSpPr/>
            <p:nvPr/>
          </p:nvSpPr>
          <p:spPr>
            <a:xfrm rot="16200000">
              <a:off x="5292373" y="1599507"/>
              <a:ext cx="305026" cy="1745775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zh-CN" altLang="en-US" sz="900" kern="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支付异常处理子系统</a:t>
              </a:r>
            </a:p>
          </p:txBody>
        </p:sp>
        <p:cxnSp>
          <p:nvCxnSpPr>
            <p:cNvPr id="21" name="直接箭头连接符 20"/>
            <p:cNvCxnSpPr>
              <a:stCxn id="81" idx="2"/>
              <a:endCxn id="125" idx="0"/>
            </p:cNvCxnSpPr>
            <p:nvPr/>
          </p:nvCxnSpPr>
          <p:spPr>
            <a:xfrm flipV="1">
              <a:off x="4341403" y="2921627"/>
              <a:ext cx="230596" cy="1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矩形 26"/>
            <p:cNvSpPr/>
            <p:nvPr/>
          </p:nvSpPr>
          <p:spPr>
            <a:xfrm rot="16200000">
              <a:off x="7305469" y="1829633"/>
              <a:ext cx="923509" cy="105351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zh-CN" altLang="en-US" sz="9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28" name="矩形 127"/>
            <p:cNvSpPr/>
            <p:nvPr/>
          </p:nvSpPr>
          <p:spPr>
            <a:xfrm rot="16200000">
              <a:off x="7604311" y="2533732"/>
              <a:ext cx="330183" cy="105351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zh-CN" altLang="en-US" sz="9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pic>
          <p:nvPicPr>
            <p:cNvPr id="166" name="Picture 2" descr="chatting, internet, messages, social media, weechat icon">
              <a:extLst>
                <a:ext uri="{FF2B5EF4-FFF2-40B4-BE49-F238E27FC236}">
                  <a16:creationId xmlns:a16="http://schemas.microsoft.com/office/drawing/2014/main" id="{C74079BC-65AF-C245-91DB-31B27EFB35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09226" y="2979035"/>
              <a:ext cx="184923" cy="1596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7" name="image 20014">
              <a:extLst>
                <a:ext uri="{FF2B5EF4-FFF2-40B4-BE49-F238E27FC236}">
                  <a16:creationId xmlns:a16="http://schemas.microsoft.com/office/drawing/2014/main" id="{8354A40F-EA96-E443-82DE-61E586E701E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>
            <a:xfrm>
              <a:off x="7554159" y="2974551"/>
              <a:ext cx="185429" cy="168572"/>
            </a:xfrm>
            <a:prstGeom prst="rect">
              <a:avLst/>
            </a:prstGeom>
          </p:spPr>
        </p:pic>
        <p:pic>
          <p:nvPicPr>
            <p:cNvPr id="129" name="图片 128">
              <a:extLst>
                <a:ext uri="{FF2B5EF4-FFF2-40B4-BE49-F238E27FC236}">
                  <a16:creationId xmlns:a16="http://schemas.microsoft.com/office/drawing/2014/main" id="{7A77CDAD-6706-984D-9CD7-3FEF4B8984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54691" t="1" b="11974"/>
            <a:stretch/>
          </p:blipFill>
          <p:spPr>
            <a:xfrm>
              <a:off x="7767224" y="2959618"/>
              <a:ext cx="248924" cy="198439"/>
            </a:xfrm>
            <a:prstGeom prst="rect">
              <a:avLst/>
            </a:prstGeom>
          </p:spPr>
        </p:pic>
        <p:pic>
          <p:nvPicPr>
            <p:cNvPr id="130" name="图片 129">
              <a:extLst>
                <a:ext uri="{FF2B5EF4-FFF2-40B4-BE49-F238E27FC236}">
                  <a16:creationId xmlns:a16="http://schemas.microsoft.com/office/drawing/2014/main" id="{53E5108E-380C-D640-A10A-CF44FF9514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1937" b="-1"/>
            <a:stretch/>
          </p:blipFill>
          <p:spPr>
            <a:xfrm>
              <a:off x="8020416" y="2967257"/>
              <a:ext cx="235888" cy="183161"/>
            </a:xfrm>
            <a:prstGeom prst="rect">
              <a:avLst/>
            </a:prstGeom>
          </p:spPr>
        </p:pic>
        <p:sp>
          <p:nvSpPr>
            <p:cNvPr id="131" name="矩形 130"/>
            <p:cNvSpPr/>
            <p:nvPr/>
          </p:nvSpPr>
          <p:spPr>
            <a:xfrm rot="16200000">
              <a:off x="7605630" y="2958773"/>
              <a:ext cx="327548" cy="105351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zh-CN" altLang="en-US" sz="9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3" name="圆角矩形 46">
              <a:extLst>
                <a:ext uri="{FF2B5EF4-FFF2-40B4-BE49-F238E27FC236}">
                  <a16:creationId xmlns:a16="http://schemas.microsoft.com/office/drawing/2014/main" id="{5B411578-D2A0-564B-88E1-A97CA8702987}"/>
                </a:ext>
              </a:extLst>
            </p:cNvPr>
            <p:cNvSpPr/>
            <p:nvPr/>
          </p:nvSpPr>
          <p:spPr>
            <a:xfrm rot="16200000">
              <a:off x="7447742" y="2047396"/>
              <a:ext cx="600429" cy="772045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zh-CN" altLang="en-US" sz="800" b="1" kern="0" dirty="0">
                  <a:solidFill>
                    <a:srgbClr val="C00000"/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余额</a:t>
              </a:r>
              <a:endParaRPr lang="en-US" altLang="zh-CN" sz="800" b="1" kern="0" dirty="0">
                <a:solidFill>
                  <a:srgbClr val="C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zh-CN" altLang="en-US" sz="800" b="1" kern="0" dirty="0">
                  <a:solidFill>
                    <a:srgbClr val="C00000"/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神钱包</a:t>
              </a:r>
              <a:endParaRPr lang="en-US" altLang="zh-CN" sz="800" b="1" kern="0" dirty="0">
                <a:solidFill>
                  <a:srgbClr val="C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800" b="1" kern="0" dirty="0">
                  <a:solidFill>
                    <a:srgbClr val="C00000"/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V</a:t>
              </a:r>
              <a:r>
                <a:rPr lang="zh-CN" altLang="en-US" sz="800" b="1" kern="0" dirty="0">
                  <a:solidFill>
                    <a:srgbClr val="C00000"/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金</a:t>
              </a:r>
              <a:endParaRPr lang="en-US" altLang="zh-CN" sz="800" b="1" kern="0" dirty="0">
                <a:solidFill>
                  <a:srgbClr val="C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zh-CN" altLang="en-US" sz="800" b="1" kern="0" dirty="0">
                  <a:solidFill>
                    <a:srgbClr val="C00000"/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券</a:t>
              </a:r>
              <a:endParaRPr lang="en-US" altLang="zh-CN" sz="800" b="1" kern="0" dirty="0">
                <a:solidFill>
                  <a:srgbClr val="C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zh-CN" altLang="en-US" sz="800" b="1" kern="0" dirty="0">
                  <a:solidFill>
                    <a:srgbClr val="C00000"/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权益</a:t>
              </a:r>
              <a:endParaRPr lang="zh-CN" altLang="en-US" sz="9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7414624" y="1917699"/>
              <a:ext cx="69249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900" dirty="0">
                  <a:latin typeface="微软雅黑" pitchFamily="34" charset="-122"/>
                  <a:ea typeface="微软雅黑" pitchFamily="34" charset="-122"/>
                </a:rPr>
                <a:t>百胜数字资产</a:t>
              </a:r>
            </a:p>
          </p:txBody>
        </p:sp>
        <p:pic>
          <p:nvPicPr>
            <p:cNvPr id="132" name="Picture 2" descr="https://dss0.bdstatic.com/70cFuHSh_Q1YnxGkpoWK1HF6hhy/it/u=3139208205,3125773799&amp;fm=26&amp;gp=0.jpg">
              <a:extLst>
                <a:ext uri="{FF2B5EF4-FFF2-40B4-BE49-F238E27FC236}">
                  <a16:creationId xmlns:a16="http://schemas.microsoft.com/office/drawing/2014/main" id="{6ECEFFC4-D28C-314B-85D8-55BC0ED5F3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0837" y="3360661"/>
              <a:ext cx="505323" cy="2351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" name="Picture 4" descr="美团">
              <a:extLst>
                <a:ext uri="{FF2B5EF4-FFF2-40B4-BE49-F238E27FC236}">
                  <a16:creationId xmlns:a16="http://schemas.microsoft.com/office/drawing/2014/main" id="{EFFCEFF4-B707-A042-B014-AB855CC7CD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6920" y="3399132"/>
              <a:ext cx="366895" cy="1780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4" name="直线箭头连接符 95">
              <a:extLst>
                <a:ext uri="{FF2B5EF4-FFF2-40B4-BE49-F238E27FC236}">
                  <a16:creationId xmlns:a16="http://schemas.microsoft.com/office/drawing/2014/main" id="{26D8771C-B340-AD44-A8FE-5376BCC0CBD9}"/>
                </a:ext>
              </a:extLst>
            </p:cNvPr>
            <p:cNvCxnSpPr/>
            <p:nvPr/>
          </p:nvCxnSpPr>
          <p:spPr>
            <a:xfrm flipH="1">
              <a:off x="6539859" y="2515872"/>
              <a:ext cx="593125" cy="897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文本框 134">
              <a:extLst>
                <a:ext uri="{FF2B5EF4-FFF2-40B4-BE49-F238E27FC236}">
                  <a16:creationId xmlns:a16="http://schemas.microsoft.com/office/drawing/2014/main" id="{DB408DD2-7EBB-C141-AF7B-4D3B685A0151}"/>
                </a:ext>
              </a:extLst>
            </p:cNvPr>
            <p:cNvSpPr txBox="1"/>
            <p:nvPr/>
          </p:nvSpPr>
          <p:spPr>
            <a:xfrm>
              <a:off x="6616212" y="2162599"/>
              <a:ext cx="51864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6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r>
                <a:rPr lang="zh-CN" altLang="en-US" dirty="0"/>
                <a:t>支付、退款</a:t>
              </a:r>
              <a:endParaRPr lang="en-US" altLang="zh-CN" dirty="0"/>
            </a:p>
            <a:p>
              <a:r>
                <a:rPr lang="zh-CN" altLang="en-US" dirty="0"/>
                <a:t>核销、反核销</a:t>
              </a:r>
              <a:endParaRPr lang="en-US" altLang="zh-CN" dirty="0"/>
            </a:p>
            <a:p>
              <a:r>
                <a:rPr lang="zh-CN" altLang="en-US" dirty="0"/>
                <a:t>签约、解约</a:t>
              </a:r>
              <a:endParaRPr lang="en-US" altLang="zh-CN" dirty="0"/>
            </a:p>
          </p:txBody>
        </p:sp>
      </p:grpSp>
      <p:sp>
        <p:nvSpPr>
          <p:cNvPr id="120" name="文本框 158"/>
          <p:cNvSpPr txBox="1"/>
          <p:nvPr/>
        </p:nvSpPr>
        <p:spPr>
          <a:xfrm>
            <a:off x="3504519" y="4388500"/>
            <a:ext cx="2308324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zh-CN"/>
            </a:defPPr>
            <a:lvl1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marL="0" indent="0">
              <a:buClr>
                <a:srgbClr val="00B050"/>
              </a:buClr>
              <a:buSzPct val="120000"/>
              <a:buNone/>
            </a:pPr>
            <a:r>
              <a:rPr lang="zh-CN" altLang="en-US" sz="1800" b="1" dirty="0" smtClean="0"/>
              <a:t>统一</a:t>
            </a:r>
            <a:r>
              <a:rPr lang="zh-CN" altLang="en-US" sz="1800" b="1" dirty="0"/>
              <a:t>管理百胜数字</a:t>
            </a:r>
            <a:r>
              <a:rPr lang="zh-CN" altLang="en-US" sz="1800" b="1" dirty="0" smtClean="0"/>
              <a:t>资产</a:t>
            </a:r>
            <a:endParaRPr lang="en-US" altLang="zh-CN" sz="1800" b="1" dirty="0" smtClean="0"/>
          </a:p>
        </p:txBody>
      </p:sp>
      <p:sp>
        <p:nvSpPr>
          <p:cNvPr id="127" name="文本框 158"/>
          <p:cNvSpPr txBox="1"/>
          <p:nvPr/>
        </p:nvSpPr>
        <p:spPr>
          <a:xfrm>
            <a:off x="6649751" y="4412962"/>
            <a:ext cx="2308324" cy="3665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zh-CN"/>
            </a:defPPr>
            <a:lvl1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marL="0" indent="0">
              <a:buClr>
                <a:srgbClr val="00B050"/>
              </a:buClr>
              <a:buSzPct val="120000"/>
              <a:buNone/>
            </a:pPr>
            <a:r>
              <a:rPr lang="zh-CN" altLang="en-US" sz="1800" b="1" dirty="0"/>
              <a:t>新渠</a:t>
            </a:r>
            <a:r>
              <a:rPr lang="zh-CN" altLang="en-US" sz="1800" b="1" dirty="0" smtClean="0"/>
              <a:t>道新业务快速接入</a:t>
            </a:r>
            <a:endParaRPr lang="en-US" altLang="zh-CN" sz="1800" b="1" dirty="0" smtClean="0"/>
          </a:p>
        </p:txBody>
      </p:sp>
      <p:pic>
        <p:nvPicPr>
          <p:cNvPr id="136" name="Picture 13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749" y="4444117"/>
            <a:ext cx="304265" cy="30426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37" name="Picture 13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5787" y="4444117"/>
            <a:ext cx="304265" cy="30426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38" name="文本框 158"/>
          <p:cNvSpPr txBox="1"/>
          <p:nvPr/>
        </p:nvSpPr>
        <p:spPr>
          <a:xfrm>
            <a:off x="612900" y="4388500"/>
            <a:ext cx="2077492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zh-CN"/>
            </a:defPPr>
            <a:lvl1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marL="0" indent="0">
              <a:buClr>
                <a:srgbClr val="00B050"/>
              </a:buClr>
              <a:buSzPct val="120000"/>
              <a:buNone/>
            </a:pPr>
            <a:r>
              <a:rPr lang="zh-CN" altLang="en-US" sz="1800" b="1" dirty="0"/>
              <a:t>及</a:t>
            </a:r>
            <a:r>
              <a:rPr lang="zh-CN" altLang="en-US" sz="1800" b="1" dirty="0" smtClean="0"/>
              <a:t>时有效的风险管控</a:t>
            </a:r>
            <a:endParaRPr lang="en-US" altLang="zh-CN" sz="1800" b="1" dirty="0" smtClean="0"/>
          </a:p>
        </p:txBody>
      </p:sp>
      <p:pic>
        <p:nvPicPr>
          <p:cNvPr id="139" name="Picture 13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130" y="4444117"/>
            <a:ext cx="304265" cy="30426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3732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Box 18">
            <a:extLst>
              <a:ext uri="{FF2B5EF4-FFF2-40B4-BE49-F238E27FC236}">
                <a16:creationId xmlns:a16="http://schemas.microsoft.com/office/drawing/2014/main" id="{45964E87-9848-2E4B-AAD5-BDB12290A62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882" y="195486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风险管控 </a:t>
            </a:r>
            <a:r>
              <a:rPr lang="en-US" altLang="zh-CN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– </a:t>
            </a: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  <a:sym typeface="+mn-ea"/>
              </a:rPr>
              <a:t>识别并控制风险</a:t>
            </a:r>
          </a:p>
        </p:txBody>
      </p:sp>
      <p:graphicFrame>
        <p:nvGraphicFramePr>
          <p:cNvPr id="74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0150079"/>
              </p:ext>
            </p:extLst>
          </p:nvPr>
        </p:nvGraphicFramePr>
        <p:xfrm>
          <a:off x="615462" y="2196716"/>
          <a:ext cx="7087999" cy="26968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21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36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54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94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34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3384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67115">
                <a:tc rowSpan="2"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ea"/>
                          <a:ea typeface="+mn-ea"/>
                        </a:rPr>
                        <a:t>No.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latin typeface="+mn-ea"/>
                          <a:ea typeface="+mn-ea"/>
                        </a:rPr>
                        <a:t>异常</a:t>
                      </a:r>
                      <a:r>
                        <a:rPr lang="en-US" altLang="zh-CN" sz="900" dirty="0" smtClean="0">
                          <a:latin typeface="+mn-ea"/>
                          <a:ea typeface="+mn-ea"/>
                        </a:rPr>
                        <a:t>KPI</a:t>
                      </a:r>
                      <a:endParaRPr lang="zh-CN" altLang="en-US" sz="900" dirty="0" smtClean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latin typeface="+mn-ea"/>
                          <a:ea typeface="+mn-ea"/>
                        </a:rPr>
                        <a:t>流量级别</a:t>
                      </a:r>
                      <a:endParaRPr lang="en-US" sz="9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zh-CN" altLang="en-US" sz="1050" dirty="0" smtClean="0"/>
                        <a:t>风控手段</a:t>
                      </a:r>
                      <a:endParaRPr lang="en-US" sz="105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05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05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853">
                <a:tc vMerge="1">
                  <a:txBody>
                    <a:bodyPr/>
                    <a:lstStyle/>
                    <a:p>
                      <a:pPr algn="ctr"/>
                      <a:endParaRPr lang="en-US" sz="1000" dirty="0" smtClean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zh-CN" altLang="en-US" sz="1000" dirty="0" smtClean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900" b="1" kern="1200" dirty="0" smtClean="0">
                          <a:solidFill>
                            <a:schemeClr val="lt1"/>
                          </a:solidFill>
                          <a:latin typeface="+mn-ea"/>
                          <a:ea typeface="+mn-ea"/>
                          <a:cs typeface="+mn-cs"/>
                        </a:rPr>
                        <a:t>系统延迟</a:t>
                      </a:r>
                    </a:p>
                    <a:p>
                      <a:pPr marL="0" algn="ctr" defTabSz="914400" rtl="0" eaLnBrk="1" latinLnBrk="0" hangingPunct="1"/>
                      <a:r>
                        <a:rPr lang="zh-CN" altLang="en-US" sz="900" b="1" kern="1200" dirty="0" smtClean="0">
                          <a:solidFill>
                            <a:schemeClr val="lt1"/>
                          </a:solidFill>
                          <a:latin typeface="+mn-ea"/>
                          <a:ea typeface="+mn-ea"/>
                          <a:cs typeface="+mn-cs"/>
                        </a:rPr>
                        <a:t>（时间限流</a:t>
                      </a:r>
                      <a:r>
                        <a:rPr lang="en-US" altLang="zh-CN" sz="900" b="1" kern="1200" dirty="0" smtClean="0">
                          <a:solidFill>
                            <a:schemeClr val="lt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900" b="1" kern="1200" dirty="0" smtClean="0">
                          <a:solidFill>
                            <a:schemeClr val="lt1"/>
                          </a:solidFill>
                          <a:latin typeface="+mn-ea"/>
                          <a:ea typeface="+mn-ea"/>
                          <a:cs typeface="+mn-cs"/>
                        </a:rPr>
                        <a:t>随机延时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900" b="1" kern="1200" dirty="0" smtClean="0">
                          <a:solidFill>
                            <a:schemeClr val="lt1"/>
                          </a:solidFill>
                          <a:latin typeface="+mn-ea"/>
                          <a:ea typeface="+mn-ea"/>
                          <a:cs typeface="+mn-cs"/>
                        </a:rPr>
                        <a:t>增加校验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900" b="1" kern="1200" dirty="0" smtClean="0">
                          <a:solidFill>
                            <a:schemeClr val="lt1"/>
                          </a:solidFill>
                          <a:latin typeface="+mn-ea"/>
                          <a:ea typeface="+mn-ea"/>
                          <a:cs typeface="+mn-cs"/>
                        </a:rPr>
                        <a:t>系统阻断</a:t>
                      </a:r>
                      <a:r>
                        <a:rPr lang="en-US" altLang="zh-CN" sz="900" b="1" kern="1200" dirty="0" smtClean="0">
                          <a:solidFill>
                            <a:schemeClr val="lt1"/>
                          </a:solidFill>
                          <a:latin typeface="+mn-ea"/>
                          <a:ea typeface="+mn-ea"/>
                          <a:cs typeface="+mn-cs"/>
                        </a:rPr>
                        <a:t>+</a:t>
                      </a:r>
                      <a:r>
                        <a:rPr lang="zh-CN" altLang="en-US" sz="900" b="1" kern="1200" dirty="0" smtClean="0">
                          <a:solidFill>
                            <a:schemeClr val="lt1"/>
                          </a:solidFill>
                          <a:latin typeface="+mn-ea"/>
                          <a:ea typeface="+mn-ea"/>
                          <a:cs typeface="+mn-cs"/>
                        </a:rPr>
                        <a:t>人工介入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537"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1</a:t>
                      </a:r>
                      <a:endParaRPr 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高风险的退单</a:t>
                      </a:r>
                      <a:r>
                        <a:rPr lang="en-US" altLang="zh-CN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/</a:t>
                      </a:r>
                      <a:r>
                        <a:rPr lang="zh-CN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撤销核销</a:t>
                      </a:r>
                      <a:endParaRPr lang="zh-CN" altLang="en-US" sz="800" b="0" i="0" u="none" strike="noStrike" dirty="0" smtClean="0"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（短时间内大批量）</a:t>
                      </a:r>
                      <a:endParaRPr lang="zh-CN" alt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渠道级</a:t>
                      </a:r>
                      <a:endParaRPr lang="zh-CN" alt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V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V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V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0537"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2</a:t>
                      </a:r>
                      <a:endParaRPr 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T+X</a:t>
                      </a: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分钟内集中发生同一类券码的撤销核销申请</a:t>
                      </a:r>
                      <a:endParaRPr lang="zh-CN" alt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渠道级</a:t>
                      </a:r>
                      <a:endParaRPr lang="zh-CN" alt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V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V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V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151"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3</a:t>
                      </a:r>
                      <a:endParaRPr 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按支付渠道每日退款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/</a:t>
                      </a: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撤销核销笔数超过正向支付流量的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X%</a:t>
                      </a:r>
                      <a:endParaRPr lang="zh-CN" alt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渠道级</a:t>
                      </a:r>
                      <a:endParaRPr lang="zh-CN" altLang="en-US" sz="800" b="0" i="0" u="none" strike="noStrike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V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0537"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4</a:t>
                      </a:r>
                      <a:endParaRPr 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同一券码号反复核</a:t>
                      </a:r>
                      <a:r>
                        <a:rPr lang="zh-CN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销及撤</a:t>
                      </a: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销核销</a:t>
                      </a:r>
                      <a:endParaRPr lang="zh-CN" alt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交易级</a:t>
                      </a:r>
                      <a:endParaRPr lang="zh-CN" alt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V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V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0537"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5</a:t>
                      </a:r>
                      <a:endParaRPr 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同一会员号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/</a:t>
                      </a: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支付账户下的高频退款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/</a:t>
                      </a: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撤销核销支付申请等</a:t>
                      </a:r>
                      <a:endParaRPr lang="zh-CN" alt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交易级</a:t>
                      </a:r>
                      <a:endParaRPr lang="zh-CN" alt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V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V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0537"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u="none" strike="noStrike" dirty="0" smtClean="0"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b="0" i="0" u="none" strike="noStrike" dirty="0" smtClean="0">
                          <a:effectLst/>
                          <a:latin typeface="+mn-ea"/>
                          <a:ea typeface="+mn-ea"/>
                        </a:rPr>
                        <a:t>系统退单</a:t>
                      </a:r>
                      <a:r>
                        <a:rPr lang="en-US" altLang="zh-CN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/</a:t>
                      </a:r>
                      <a:r>
                        <a:rPr lang="zh-CN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撤销核销</a:t>
                      </a:r>
                      <a:endParaRPr lang="zh-CN" alt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交易级</a:t>
                      </a:r>
                      <a:endParaRPr lang="zh-CN" altLang="en-US" sz="8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/>
                        </a:rPr>
                        <a:t>V</a:t>
                      </a:r>
                      <a:endParaRPr lang="en-US" altLang="zh-CN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8580" marR="68580" marT="7620" marB="0" anchor="ctr"/>
                </a:tc>
                <a:extLst>
                  <a:ext uri="{0D108BD9-81ED-4DB2-BD59-A6C34878D82A}">
                    <a16:rowId xmlns:a16="http://schemas.microsoft.com/office/drawing/2014/main" val="1862057915"/>
                  </a:ext>
                </a:extLst>
              </a:tr>
            </a:tbl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6396092" y="913871"/>
            <a:ext cx="1940483" cy="1032628"/>
            <a:chOff x="6396092" y="914487"/>
            <a:chExt cx="1940483" cy="1032628"/>
          </a:xfrm>
        </p:grpSpPr>
        <p:sp>
          <p:nvSpPr>
            <p:cNvPr id="46" name="矩形 76">
              <a:extLst>
                <a:ext uri="{FF2B5EF4-FFF2-40B4-BE49-F238E27FC236}">
                  <a16:creationId xmlns:a16="http://schemas.microsoft.com/office/drawing/2014/main" id="{F850B459-48E2-854D-A7E4-51EC87A1AF74}"/>
                </a:ext>
              </a:extLst>
            </p:cNvPr>
            <p:cNvSpPr/>
            <p:nvPr/>
          </p:nvSpPr>
          <p:spPr>
            <a:xfrm>
              <a:off x="6396092" y="914487"/>
              <a:ext cx="1940483" cy="103262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矩形 77"/>
            <p:cNvSpPr/>
            <p:nvPr/>
          </p:nvSpPr>
          <p:spPr>
            <a:xfrm>
              <a:off x="6396092" y="925156"/>
              <a:ext cx="1937109" cy="2307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 smtClean="0">
                  <a:solidFill>
                    <a:schemeClr val="bg1">
                      <a:lumMod val="65000"/>
                    </a:schemeClr>
                  </a:solidFill>
                </a:rPr>
                <a:t>解决办法</a:t>
              </a:r>
              <a:endParaRPr lang="zh-CN" altLang="en-US" sz="14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48" name="文本框 80"/>
            <p:cNvSpPr txBox="1"/>
            <p:nvPr/>
          </p:nvSpPr>
          <p:spPr>
            <a:xfrm>
              <a:off x="6871119" y="1323012"/>
              <a:ext cx="92333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1200" b="1" dirty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内</a:t>
              </a:r>
              <a:r>
                <a:rPr lang="zh-CN" altLang="en-US" sz="1200" b="1" dirty="0" smtClean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部风控规则</a:t>
              </a:r>
              <a:endParaRPr lang="zh-CN" altLang="en-US" sz="12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9" name="文本框 80"/>
            <p:cNvSpPr txBox="1"/>
            <p:nvPr/>
          </p:nvSpPr>
          <p:spPr>
            <a:xfrm>
              <a:off x="6871119" y="1624213"/>
              <a:ext cx="92333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1200" b="1" dirty="0" smtClean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对接风控系统</a:t>
              </a:r>
              <a:endParaRPr lang="zh-CN" altLang="en-US" sz="12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40638" y="909680"/>
            <a:ext cx="1944000" cy="1032628"/>
            <a:chOff x="640638" y="904874"/>
            <a:chExt cx="1944000" cy="1032628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F850B459-48E2-854D-A7E4-51EC87A1AF74}"/>
                </a:ext>
              </a:extLst>
            </p:cNvPr>
            <p:cNvSpPr/>
            <p:nvPr/>
          </p:nvSpPr>
          <p:spPr>
            <a:xfrm>
              <a:off x="640638" y="904874"/>
              <a:ext cx="1944000" cy="103262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1" name="文本框 80"/>
            <p:cNvSpPr txBox="1"/>
            <p:nvPr/>
          </p:nvSpPr>
          <p:spPr>
            <a:xfrm>
              <a:off x="1259633" y="1263135"/>
              <a:ext cx="819301" cy="15261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1200" b="1" dirty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黑产攻击</a:t>
              </a:r>
            </a:p>
          </p:txBody>
        </p:sp>
        <p:sp>
          <p:nvSpPr>
            <p:cNvPr id="110" name="矩形 109"/>
            <p:cNvSpPr/>
            <p:nvPr/>
          </p:nvSpPr>
          <p:spPr>
            <a:xfrm>
              <a:off x="648258" y="912495"/>
              <a:ext cx="1926350" cy="23197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bg1">
                      <a:lumMod val="65000"/>
                    </a:schemeClr>
                  </a:solidFill>
                </a:rPr>
                <a:t>风险来源</a:t>
              </a:r>
            </a:p>
          </p:txBody>
        </p:sp>
        <p:sp>
          <p:nvSpPr>
            <p:cNvPr id="50" name="文本框 80"/>
            <p:cNvSpPr txBox="1"/>
            <p:nvPr/>
          </p:nvSpPr>
          <p:spPr>
            <a:xfrm>
              <a:off x="1259632" y="1589044"/>
              <a:ext cx="61555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1200" b="1" dirty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系</a:t>
              </a:r>
              <a:r>
                <a:rPr lang="zh-CN" altLang="en-US" sz="1200" b="1" dirty="0" smtClean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统故障</a:t>
              </a:r>
              <a:endParaRPr lang="zh-CN" altLang="en-US" sz="12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2" name="Oval 1"/>
          <p:cNvSpPr/>
          <p:nvPr/>
        </p:nvSpPr>
        <p:spPr>
          <a:xfrm>
            <a:off x="3691365" y="978798"/>
            <a:ext cx="1584176" cy="89439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百</a:t>
            </a:r>
            <a:r>
              <a:rPr lang="zh-CN" altLang="en-US" dirty="0" smtClean="0"/>
              <a:t>胜</a:t>
            </a:r>
            <a:endParaRPr lang="en-US" altLang="zh-CN" dirty="0" smtClean="0"/>
          </a:p>
          <a:p>
            <a:pPr algn="ctr"/>
            <a:r>
              <a:rPr lang="zh-CN" altLang="en-US" dirty="0" smtClean="0"/>
              <a:t>财务风险</a:t>
            </a:r>
            <a:endParaRPr lang="zh-CN" altLang="en-US" dirty="0"/>
          </a:p>
        </p:txBody>
      </p:sp>
      <p:sp>
        <p:nvSpPr>
          <p:cNvPr id="56" name="iŝḻiḓè">
            <a:extLst>
              <a:ext uri="{FF2B5EF4-FFF2-40B4-BE49-F238E27FC236}">
                <a16:creationId xmlns:a16="http://schemas.microsoft.com/office/drawing/2014/main" id="{B27B2860-8192-40B6-8A63-9B135CBB73A0}"/>
              </a:ext>
            </a:extLst>
          </p:cNvPr>
          <p:cNvSpPr/>
          <p:nvPr/>
        </p:nvSpPr>
        <p:spPr>
          <a:xfrm rot="10800000" flipH="1" flipV="1">
            <a:off x="2822694" y="1311435"/>
            <a:ext cx="753582" cy="229119"/>
          </a:xfrm>
          <a:prstGeom prst="rightArrow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0" scaled="0"/>
          </a:gra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57" name="iŝḻiḓè">
            <a:extLst>
              <a:ext uri="{FF2B5EF4-FFF2-40B4-BE49-F238E27FC236}">
                <a16:creationId xmlns:a16="http://schemas.microsoft.com/office/drawing/2014/main" id="{B27B2860-8192-40B6-8A63-9B135CBB73A0}"/>
              </a:ext>
            </a:extLst>
          </p:cNvPr>
          <p:cNvSpPr/>
          <p:nvPr/>
        </p:nvSpPr>
        <p:spPr>
          <a:xfrm flipH="1" flipV="1">
            <a:off x="5373777" y="1311435"/>
            <a:ext cx="753582" cy="229119"/>
          </a:xfrm>
          <a:prstGeom prst="rightArrow">
            <a:avLst/>
          </a:prstGeom>
          <a:gradFill>
            <a:gsLst>
              <a:gs pos="100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0" scaled="0"/>
          </a:gra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06385" y="1159583"/>
            <a:ext cx="30777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2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增加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652309" y="1175608"/>
            <a:ext cx="30777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200" b="1" dirty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降低</a:t>
            </a:r>
            <a:endParaRPr lang="zh-CN" altLang="en-US" sz="12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5872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"/>
          <p:cNvSpPr txBox="1">
            <a:spLocks noChangeArrowheads="1"/>
          </p:cNvSpPr>
          <p:nvPr/>
        </p:nvSpPr>
        <p:spPr bwMode="gray">
          <a:xfrm>
            <a:off x="0" y="195486"/>
            <a:ext cx="82352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anose="020B0503020204020204" charset="-122"/>
              </a:rPr>
              <a:t>支付中心建设现状</a:t>
            </a:r>
            <a:endParaRPr lang="zh-CN" altLang="en-US" sz="2000" b="1" dirty="0">
              <a:latin typeface="+mj-ea"/>
              <a:ea typeface="+mj-ea"/>
              <a:cs typeface="微软雅黑" panose="020B0503020204020204" charset="-122"/>
              <a:sym typeface="+mn-ea"/>
            </a:endParaRP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15C4C498-D556-449F-B55E-4D19053FB9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810701"/>
              </p:ext>
            </p:extLst>
          </p:nvPr>
        </p:nvGraphicFramePr>
        <p:xfrm>
          <a:off x="395538" y="987574"/>
          <a:ext cx="8064894" cy="3773036"/>
        </p:xfrm>
        <a:graphic>
          <a:graphicData uri="http://schemas.openxmlformats.org/drawingml/2006/table">
            <a:tbl>
              <a:tblPr/>
              <a:tblGrid>
                <a:gridCol w="493244">
                  <a:extLst>
                    <a:ext uri="{9D8B030D-6E8A-4147-A177-3AD203B41FA5}">
                      <a16:colId xmlns:a16="http://schemas.microsoft.com/office/drawing/2014/main" val="3005535534"/>
                    </a:ext>
                  </a:extLst>
                </a:gridCol>
                <a:gridCol w="455567">
                  <a:extLst>
                    <a:ext uri="{9D8B030D-6E8A-4147-A177-3AD203B41FA5}">
                      <a16:colId xmlns:a16="http://schemas.microsoft.com/office/drawing/2014/main" val="2530158929"/>
                    </a:ext>
                  </a:extLst>
                </a:gridCol>
                <a:gridCol w="474406">
                  <a:extLst>
                    <a:ext uri="{9D8B030D-6E8A-4147-A177-3AD203B41FA5}">
                      <a16:colId xmlns:a16="http://schemas.microsoft.com/office/drawing/2014/main" val="3106199013"/>
                    </a:ext>
                  </a:extLst>
                </a:gridCol>
                <a:gridCol w="677723">
                  <a:extLst>
                    <a:ext uri="{9D8B030D-6E8A-4147-A177-3AD203B41FA5}">
                      <a16:colId xmlns:a16="http://schemas.microsoft.com/office/drawing/2014/main" val="4090362974"/>
                    </a:ext>
                  </a:extLst>
                </a:gridCol>
                <a:gridCol w="338861">
                  <a:extLst>
                    <a:ext uri="{9D8B030D-6E8A-4147-A177-3AD203B41FA5}">
                      <a16:colId xmlns:a16="http://schemas.microsoft.com/office/drawing/2014/main" val="1874272689"/>
                    </a:ext>
                  </a:extLst>
                </a:gridCol>
                <a:gridCol w="474406">
                  <a:extLst>
                    <a:ext uri="{9D8B030D-6E8A-4147-A177-3AD203B41FA5}">
                      <a16:colId xmlns:a16="http://schemas.microsoft.com/office/drawing/2014/main" val="3041806519"/>
                    </a:ext>
                  </a:extLst>
                </a:gridCol>
                <a:gridCol w="338861">
                  <a:extLst>
                    <a:ext uri="{9D8B030D-6E8A-4147-A177-3AD203B41FA5}">
                      <a16:colId xmlns:a16="http://schemas.microsoft.com/office/drawing/2014/main" val="2712489645"/>
                    </a:ext>
                  </a:extLst>
                </a:gridCol>
                <a:gridCol w="474406">
                  <a:extLst>
                    <a:ext uri="{9D8B030D-6E8A-4147-A177-3AD203B41FA5}">
                      <a16:colId xmlns:a16="http://schemas.microsoft.com/office/drawing/2014/main" val="3445023918"/>
                    </a:ext>
                  </a:extLst>
                </a:gridCol>
                <a:gridCol w="406634">
                  <a:extLst>
                    <a:ext uri="{9D8B030D-6E8A-4147-A177-3AD203B41FA5}">
                      <a16:colId xmlns:a16="http://schemas.microsoft.com/office/drawing/2014/main" val="2866560668"/>
                    </a:ext>
                  </a:extLst>
                </a:gridCol>
                <a:gridCol w="338861">
                  <a:extLst>
                    <a:ext uri="{9D8B030D-6E8A-4147-A177-3AD203B41FA5}">
                      <a16:colId xmlns:a16="http://schemas.microsoft.com/office/drawing/2014/main" val="3695526050"/>
                    </a:ext>
                  </a:extLst>
                </a:gridCol>
                <a:gridCol w="338861">
                  <a:extLst>
                    <a:ext uri="{9D8B030D-6E8A-4147-A177-3AD203B41FA5}">
                      <a16:colId xmlns:a16="http://schemas.microsoft.com/office/drawing/2014/main" val="299165680"/>
                    </a:ext>
                  </a:extLst>
                </a:gridCol>
                <a:gridCol w="406634">
                  <a:extLst>
                    <a:ext uri="{9D8B030D-6E8A-4147-A177-3AD203B41FA5}">
                      <a16:colId xmlns:a16="http://schemas.microsoft.com/office/drawing/2014/main" val="1264061443"/>
                    </a:ext>
                  </a:extLst>
                </a:gridCol>
                <a:gridCol w="338861">
                  <a:extLst>
                    <a:ext uri="{9D8B030D-6E8A-4147-A177-3AD203B41FA5}">
                      <a16:colId xmlns:a16="http://schemas.microsoft.com/office/drawing/2014/main" val="3232649821"/>
                    </a:ext>
                  </a:extLst>
                </a:gridCol>
                <a:gridCol w="338861">
                  <a:extLst>
                    <a:ext uri="{9D8B030D-6E8A-4147-A177-3AD203B41FA5}">
                      <a16:colId xmlns:a16="http://schemas.microsoft.com/office/drawing/2014/main" val="2075620327"/>
                    </a:ext>
                  </a:extLst>
                </a:gridCol>
                <a:gridCol w="406634">
                  <a:extLst>
                    <a:ext uri="{9D8B030D-6E8A-4147-A177-3AD203B41FA5}">
                      <a16:colId xmlns:a16="http://schemas.microsoft.com/office/drawing/2014/main" val="2986202719"/>
                    </a:ext>
                  </a:extLst>
                </a:gridCol>
                <a:gridCol w="406634">
                  <a:extLst>
                    <a:ext uri="{9D8B030D-6E8A-4147-A177-3AD203B41FA5}">
                      <a16:colId xmlns:a16="http://schemas.microsoft.com/office/drawing/2014/main" val="1625310510"/>
                    </a:ext>
                  </a:extLst>
                </a:gridCol>
                <a:gridCol w="406634">
                  <a:extLst>
                    <a:ext uri="{9D8B030D-6E8A-4147-A177-3AD203B41FA5}">
                      <a16:colId xmlns:a16="http://schemas.microsoft.com/office/drawing/2014/main" val="224990290"/>
                    </a:ext>
                  </a:extLst>
                </a:gridCol>
                <a:gridCol w="474403">
                  <a:extLst>
                    <a:ext uri="{9D8B030D-6E8A-4147-A177-3AD203B41FA5}">
                      <a16:colId xmlns:a16="http://schemas.microsoft.com/office/drawing/2014/main" val="1751527953"/>
                    </a:ext>
                  </a:extLst>
                </a:gridCol>
                <a:gridCol w="474403">
                  <a:extLst>
                    <a:ext uri="{9D8B030D-6E8A-4147-A177-3AD203B41FA5}">
                      <a16:colId xmlns:a16="http://schemas.microsoft.com/office/drawing/2014/main" val="3281432997"/>
                    </a:ext>
                  </a:extLst>
                </a:gridCol>
              </a:tblGrid>
              <a:tr h="18076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业务类别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订单类型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品牌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渠道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支付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第三方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退单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数据归属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风控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9641407"/>
                  </a:ext>
                </a:extLst>
              </a:tr>
              <a:tr h="22043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支付宝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微信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V</a:t>
                      </a:r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金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券</a:t>
                      </a:r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/</a:t>
                      </a:r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权益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余额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神钱包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美团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饿了么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钱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积分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券</a:t>
                      </a:r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/</a:t>
                      </a:r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权益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发票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prime</a:t>
                      </a:r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卡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5298199"/>
                  </a:ext>
                </a:extLst>
              </a:tr>
              <a:tr h="330433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点餐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线上订单 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KFC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KFC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自助点餐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2684567"/>
                  </a:ext>
                </a:extLst>
              </a:tr>
              <a:tr h="33043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KFC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宅急送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319683"/>
                  </a:ext>
                </a:extLst>
              </a:tr>
              <a:tr h="33043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PH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PH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扫码</a:t>
                      </a: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/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外带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zh-CN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zh-CN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1118313"/>
                  </a:ext>
                </a:extLst>
              </a:tr>
              <a:tr h="33043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PH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宅急送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0858218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TACO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TACOBELL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3550671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CJ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CJ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自取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1407353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CJ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外送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1641491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LA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LA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lang="en-US" altLang="zh-CN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  <a:endParaRPr lang="zh-CN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915862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线下订单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ALL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kiosk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9986922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counte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8448621"/>
                  </a:ext>
                </a:extLst>
              </a:tr>
              <a:tr h="2526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银二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代</a:t>
                      </a:r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/MPOS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√</a:t>
                      </a:r>
                      <a:endParaRPr kumimoji="0" lang="zh-CN" alt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+mn-cs"/>
                        </a:rPr>
                        <a:t>-</a:t>
                      </a:r>
                      <a:endParaRPr kumimoji="0" lang="en-US" altLang="zh-CN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3044997"/>
                  </a:ext>
                </a:extLst>
              </a:tr>
              <a:tr h="25268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商城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线上订单 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KFC/PH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vmal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√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983" marR="6983" marT="69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77995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8295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0"/>
    </mc:Choice>
    <mc:Fallback xmlns="">
      <p:transition advTm="1000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9bf32b21c57e606988ab10ec694d2e32676a8b"/>
  <p:tag name="ISPRING_RESOURCE_PATHS_HASH_PRESENTER" val="1e23aa3dfefa2dda7d344b154acf39862a589a"/>
  <p:tag name="ISPRING_PLAYERS_CUSTOMIZATION" val="UEsDBBQAAgAIAImQhEfpbttk5AMAAHQOAAAdAAAAdW5pdmVyc2FsL2NvbW1vbl9tZXNzYWdlcy5sbmetV91u2zYUvi/QdyAEFNgulrYDWhSD44C2GFuILLkSHSdbB4GRGJsIRbr6cZtd7Wn2YHuSHVFyYqcdJMW9sGDS/r7z950jcnD2NZVoy7NcaHVqvT15YyGuYp0ItTq1FvT8lw8WygumEia14qeW0hY6G758MZBMrUq24vD95QuEBinPc1jmw2r1uEYiObXmo2jsz+bYu45cf+JHI2diDcc63TB1j1y90p+yn359/+Hr23fvfx68bpBdiMIZdt1DKmSY3r3pQOTRwHcjYCNu5JErag2rZz+cv6Cu4xFr2Hzph54H5NIaVs9W3CIIiEej0HVsEjlh5PnU5MIllNjW8FqXaM22HBUabQX/goo1h0oWIuMolyIxP8QaNlTJ24zZAV463iSivu+GEfHs3Y41JCpBdsa+gD56sgQ4JAEQZCzn2TOwkSm1gSMsZT+GqTOZuvChlQtTsVpL+BR9/ZgTD6rFVRtqRsIQT0g08q+gTiArvw/CvwA1XfRBXJMQFEDCNoyHL50Jpo7vVQoKSEgDZ/wgn5gppJW8RyyOAYc2Gd8KXeawUymKJ7WQ8n5WQvJxAcJ1sPsdkdaESCgj15XYcnAhS9rrAi0zJnZVmY8L5/foHDsusSMole0vI2p6uTLGQP1KF4hJqasAwC5LtkzFHN3wmJUgpXv4WyIS87cNg7ArTz6X4i/EiqZzXjVN59nk6tXJca451IVhsWSZ6tBBT6gOWv7bYNMyh0iLgqeboi2KvUyc/BAvjo1rjsPwf4PqUpcjI3piv284IUicBPBig24fCd0dQWagDxhrKROyO8rxzsHQPOM5jHieIUfd9rDp+Q2Bp9FzOS4h8wcuXEJFeuCXZBQ6tMoxv8lF0fpKMoWq6/19jcRwBpC84I86ueG3GvpfcraFIsK+yGvhnDzDWC9B7CZrNQL353TD4oFDK1bAiQuBS1KkEH/SgXMxI7sM1uP1IBNLXcrEjDMp7syIhdqUaZ2QTV2n2uhtplOzK1m+66V6wp8d40UdXFAbne8ZbCMNCQ7G02iMvTGpTnNVD8uOINBy5ZNLw8jFowoOok5ZEa/hvXKrS5V0JKoPZDY5x0DWpDTkLIvX//79T0eOJ57Uu6jZ/a0XCXRoNZfIA9kfni54/mcbCcWjQ5xZdEE1B9gdruN51lS9SR6mFI+nMxBGaHSgyyxuPy7sM8xwcAHDwZy2rOGMZXcwWajWsheLCbkSQtHP+uNZviykULwP9rjZXAVMnXmEbdtcbKAJpIjv6ndagpiZbtUNR8INpyvZeIo9GDxP+Hgiip6EZtbv2hwarl4/ttv229H/sMrN/XDweu+6+B9QSwMEFAACAAgAiZCER6uvADQSAwAAYQsAACcAAAB1bml2ZXJzYWwvZmxhc2hfcHVibGlzaGluZ19zZXR0aW5ncy54bWzVVt1SGjEUvucpMul4KYsWq2V2cTr8TB0VGKFVr5ywCWzGbLJNsiBe9Wn6YH2SnmwEYbTOqnWmDheQk3O+8/+R8PAmFWjGtOFKRninWsOIyVhRLqcR/jbqbh9gZCyRlAglWYSlwuiwWQmzfCy4SYbMWlA1CGCkaWQ2wom1WSMI5vN5lZtMu1slcgv4phqrNMg0M0xapoNMkAV82UXGDG5WKgiFXnSqaC4Y4hRCkNxFR0RXEJPgwKuNSXw91SqXtKWE0khPxxH+UGu5z1LHQ7V5yqRLzjRB6MS2QSjlLh4ihvyWoYTxaQKB79cxmnNqkwjv1h0KaAcPUQpsnwNxKC0FyUh7B58ySyixxB+9P8turFkKvIguJEl5PIIb5PKPcHt09fVy0Dk7OeodX436/ZPR0cAHUdgEmzhhsOkohIBUrmO28hMSa0mcQNxgMyHCsDBYFy3VJkpuBOfOaKwE1L6wgnlIx4z2SMrWujG85rILmjsYTSARsYjwF82JwIhbIni8Mjb52Fhui/531zURYMGcMXQ6xPfufXXihGjD1sNa3hhX87h5rnJB0ULlSPBrhqxCkH+ewq+EofXmoIlWaSGF8bHICA4eZ5zNGT0sanoH+DdHl+AizcESJjcTzHoPP3J+i8ZsojTgMjKDGQc5Nx6/+izgjBhzD0qWMW4NT47anaujXrtzseUSJHRGZPxMcGg4SzP7FvgEcpcKXAihoJprEFCZmOSGFf2hnBZqZdIs7Tshs6LprpEFKLSbQzweEy5iGE0uc1YWMCYSKSkWiMSwQsaN0Iyr3IDED4uHNi8K0JsiLotQp7BB4ExTpsug1XZ2P9b3Pu0ffG5Ug98/f20/aXRHKwNBnDfPK60niWVFLg93LgwcFzxODVbn/yczDM4638vUtde5GJXqZmdYCq5fRqt/XEbrzFPZYI3GypidEy2BiN6Fag84c+oJGlhT8JRbRv/lOrxgpF/1b+f34W1G+g1zfs0av5uU/Wn1cNp4KYXBo085d5NyyVMohGPv1fuvuVevwdvr0atKBdA2n8XNyh9QSwMEFAACAAgAiZCER+ShKwC+AgAAVQoAACEAAAB1bml2ZXJzYWwvZmxhc2hfc2tpbl9zZXR0aW5ncy54bWyVVsFu2zAMve8rguxeZ+u6boAaIE1ToEC3FmvRu2wzthBZMiQ5Xf5+oizXUhInXogCEfkeSVEkU6I3TMw/TSYkk1yqFzCGiUKjptNNWH4zTRtjpLjIpDAgzIWQqqJ8Ov987z4kcchzLLkFNZazphn0YWazy/vFbAzFx7i6RhkiZLKqqdg9ykJepDTbFEo2Ij+bWrmrQXEmNpjRz+vlajAAZ9o8GKiinFY/UMZRagVaA6b0fYVylsVpCryLNHOfkZw+1Onb79G2TDPjaIsvKEO0mhYQF3m2RBnGC+s9fpVrlNMEA3+NhV5+RRmEcroDFTtfXKEMMmTd1P/TI7WSBRY05px+xA8OlzS342cJdzOUswS8EAY6+wq+PN/uUAKQ/xrOPcFxVZI/Y133FgI+esphblQDJOlOrU2X8v2pMXY+YL6mXFtAqOpBzzbpZ9rozk2s63F/4J2JPPTlNT3kTfKmgmWbcOAu1vf45fLW7YrQ6YcuyFDB1iuDFHtlj/xt63qADJQ98oWzHJ4E3x1msG9qSd0j31L/nKfrb60gqD3m3tqdOitGesTR1UGqXtFhKpnDXGM6r6wCfDeSOF2bUnKQExF0ywpqmBS/EJfu3GU0SfYMvteOdxYxzHA41nAuR7umw3K5c9yP3ho3ZPuz0F+uPU+M3eI3U2oMzcrK/izp6cTz7JjYwkyT4wzckxYO6kGsZcBxsYdIFVUbUK9S8rFhhDSgx7qX7XANwUkS1IAkx6tMvJNj5RdNlYJa2VdjoLsqx8oWWLKi5PbPvDF4h3yPMWBtqaa0/gRlH30ZKHwTAFVZ2XVte2gtVcMN47CFbvgDhbvy0N2Itl061HAL8whrE7ac14zqSb8r+l6Jd0igP4J/s2lFjvcsI9re0FS7m0WT363hPpdoMXfrDJsv3GTu7HspcmzthxW0Svx38h9QSwMEFAACAAgAiZCER9XqJ9PnAgAAcgoAACYAAAB1bml2ZXJzYWwvaHRtbF9wdWJsaXNoaW5nX3NldHRpbmdzLnhtbNVWzU4bMRC+5yksVxzJAqWFok1QRYKIoElE0gInNFk7WQuvvbW9CeHUp+mD9Uk6XhNIBEULgqpVDonHM9988xvH+9eZJFNurNCqQTfrG5RwlWgm1KRBvw4P13cpsQ4UA6kVb1ClKdlv1uK8GElh0wF3DlUtQRhl93LXoKlz+V4UzWazurC58bdaFg7xbT3RWZQbbrly3ES5hDl+uXnOLW3WaoTEQfRFs0JyIhhSUMKzA3nkMkmjoDWC5GpidKHYgZbaEDMZNei7jQP/WegEpJbIuPKx2SYKvdjtAWPC0wE5EDecpFxMUuS9s03JTDCXNujWtkdB7eghSokdQgCPcqAxFuVu4TPugIGDcAz+HL92diEIIjZXkIlkiDfEh9+greHl0UW/fXrS6R5fDnu9k2GnH0iUNtEqThytOoqRkC5Mwu/8xOAcJCnyRpsxSMvjaFm0UBtrtULOn8lIS0x9aUXJGJnKeYN+NgIkJcKBFMndrQMz4e5QSIzB227Wx8rRe8AQb5KCsXzZ0eLG+iwmzTNdSEbmuiBSXHHiNMGIigx/pZwsp5uMjc5KqQTriJWCcTIVfMbZfpmlW8A/ObpAF1mBltiKueQuePheiBsy4mNtEJfDFJsW5cIG/PqzgHOw9h4UFhzXBiedVvuy0221z9d8gMCmoJJngmMJeZa7t8AHjF1pdCGlxmwuQWBmEigsL+vDBCvVqoRZ2XcK07LovpAlKJZbIJ+AiRcJtpZQBa8KmIAiWsk5gQSHwvoWmgpdWJSEZgnQ9kUEgykRqqQ6wQWFzgzjpgraxubW++0PH3d2P+3Vo18/fq4/aXS7KPoSvLewKQ6eXBV36+LhzMWRn9DHh92Z4m/Nev+0/a1Kprrt82Gl+rQHleB6VbR6x1W0TsNy6i8tpipmZ2AUrpb/QrWLW3ASVi7uQSky4Th7zQZ/QZM+/Y8UWviVmvQNo3hy1P7dIMLp7gGy8uKIo0efRDWUr74Tm7XfUEsDBBQAAgAIAImQhEcAu+QqngEAAB8GAAAfAAAAdW5pdmVyc2FsL2h0bWxfc2tpbl9zZXR0aW5ncy5qc42UTW/CMAyG7/wKlF0n1I0xtt0QH9IkDpPGbdohLaZUpEmVhI4O8d9XlwFN6o7FF/Ly5HXsKt53uuViEeu+dPfV72r/5u4rDVCzegu3ri5a9BR1ZkSyhEWSgkgkMA/JT0fP8uFCUMZMVqZh8Y62pubHFP6z4sLU8Yyw0IRmqMM5AX4R2o46/H0WO7W6jjXVGh1urVWyFylpQdqeVDrlFcNuZtWql+jBKgd9BV3xCBzTIOjPRkEbeXEcDDHqXKTSjMtirmLVC3m0ibXaymVb/nWRgS4/+eY37fNwPHXsRGLsq4XUTzx9wmgnMw3GwG/exykGCQsegqj5BtX6A3WMmwV5dJ6YxJ7o0R1Gnc54DI0uBWMMF5OlV6ObQ4wmZ2Fnj0T/HsMhBC9AN6xGAwwHVNk2+8cHzLSKsSMNtNnzMyoUXyYyPnKTAIPk8LJo29a9S6EPEwzmPCHlPaE19fzSttnhg4YArTOWTnmNl3dO2QlKlEQORWjUtMrpOWL9OYL7jy7j1vJonZbjoRyOZRu43oBeKCXK239eu6efq3P4AVBLAwQUAAIACACJkIRHGtrqO6oAAAAfAQAAGgAAAHVuaXZlcnNhbC9pMThuX3ByZXNldHMueG1snY8xD8IgEIV3fgW5XbBb0wDdTNwcdDYVUUno0XDU+vOF1Bhnh0vuXd73Xk71rzHwp0vkI2poxBa4QxuvHu8aTsfdpgVOecDrECI6DRiB94Yp37R4SI5cJl4ikDQ8cp46KZdlEZ6mVBIohjmXYBI2jrLMGFFWUk4rCivb+b/ozw0MY5yry+xD3qMpe1GrhVOyGipzdig83iLIalDy667KzpRLRRFK/jxm2BtQSwMEFAACAAgAiZCER7DtXVduAAAAdgAAABwAAAB1bml2ZXJzYWwvbG9jYWxfc2V0dGluZ3MueG1sDcw9DsIwDEDhvaewvJefjaFpNzYQEuUAVmNQJMdGiYXg9nh7w6c3Ld8q8OHWi2nC4+6AwLpZLvpK+FjP4wmhO2kmMeWEagjLPExiG8md3QN2eAv9uK1cI5yvVEPeGndWJ48zjHCJ57Nwxv08/AFQSwMEFAACAAgAA3TLRM6CCTfsAgAAiAgAABQAAAB1bml2ZXJzYWwvcGxheWVyLnhtbK1VTW/bMAw9p8D+g6F7raRd1zSQW3QFih3WoUDWbbdAtRlbi215klw3/fWj/G3P6VZgBwM2xfdI8ZE0u3pOYucJlBYy9cjCnRMHUl8GIg098vD19nhJri7fHbEs5ntQjgg8kqfCAnhMnAC0r0RmEHzPTeSRnsFFZuJkSkglzB65z5C7i7Qk745m6JJqj0TGZCtKi6JwhUZEGmoZ55ZEu75MaKZAQ2pA0SoN4jTYlfk7Gp9EptTsM9A9ZGbeHrgmaTmetRiQFKeuVCE9mc8X9Mfd57UfQcKPRaoNT30gDlZyVpbykfu7OxnkMWhrm7EqyTUYY5MobTNmVmKxTB2tfI9UDpsEtOYhaDdOQ0IrLJ0As23MdVTz6AGt5dU7UfOWfhv7vWncSuVo55zlj7HQER71IZ11EsjoMCpLyuuWHfTQdNCtZSKOgl+5UBCUn9/aFpkvSBWw7bgyT1cXPh7g2y33jVT7G4RhF9UKuq1obiWaW4JaDreNvu4oSHPbLXCTK2hKNWNPIgD5hSvFbVtcGpUDoyNjjaVDMKPVlWuROkFYZJL47B+0sX4jaX7q15QpAf9DmE9I1NZEpAE83wr0MZBgTQ1gsa3NNVns2phdTjp/THp9PTBVOdai4EUcw1UIOIYBN5x2dnoICoprdPFzNcL2Dg6CIxFGMT5mkmF8epAm4Wo3ydA7OAiOpb+bgLbmtox0XMdRM7UdxOjEOmF+ro1MxEvZnoM9Y1ZlH742cs3RdSbag/P5H6M4iNEM5pZMrC771ttXzeG9nVOjO59NVlkG3YrzACbPKq9mFvJs5BPAluexuenn1OzDHnSU89R0THN9x36XxVq8gFOIwP7pFqe2JhHYnvHIh+VpjwH1xO0yCF+apiIyWktSqXlIOYa1eRJQVJhqVj6i6qGSeRqMtHGz7uegY9xV1wq4E8MWM12cYPPJzCPv8aW+y8XZRXeV88VFgy3zuq8CV7m8YVXXCXedQet+bS/C6pnH199QSwMEFAACAAgAiZCER1xY5FeMAgAAagcAACkAAAB1bml2ZXJzYWwvc2tpbl9jdXN0b21pemF0aW9uX3NldHRpbmdzLnhtbJVVS27bMBDd9xSEDxCTIvUDHAP6UIWBIg2aAF3TMuMKkUmDpNOk0AV6hqKLZtEDdJlNT9M2xyhp1x+5iuNoVuS8N8N5HA0H+roS2UIbOas+MVNJccGNqcRUD18BMChlLdW54pqb5UZ7Cwg246e9Pw/3j59/PP788uvh+++v33pAGyYmTE1Oe1es1ry3Yq65oLKO8cIYKU5KKQwX5kRINWN1D9ywemEjFsuv13+eKG+4egHtipV8P1m4/J5ltTL5obNOTilncybu3sipPBmz8nqq5EJMjjnjh7s5V3UlrjfgOMxod5a60mZk+KzjbDRydgRrbi9R8+3RAursMLFmY16388FjGPu5Dsiwx7ypdGV2mAly1smcsynv0hw+gRY2fAc8gTCEhziG35oNGnvOutE1u+PqBSeS88X8hU0zV3LqtO2iHbjQDa2WbGJ/9w0nh84Oc1xdLt0xd9LSiuTO1rhBf2eWLMdNf3/erAK9r8REfhyJK/mPuB4wmfPqIQQrgUAUJlEe2RVJiQdCQj0agZz6mfXFOI9xZn25h7JBfy/EKq7ipR0q3VEH/Zb3f8JIaK7MSEz47RC30buudgWvlZXf4vQwIM6addZmKRUBBNlJQxsvwRgHIPNzlMMmDOMwQYBC4kPcpJFrQYB8H8VBg0LPx3ZVxIGNQmgcABIS4uWNRz3LBkmS5l7WhDhGKLHZaBRnTVGktucBQgiTvPEDXKQQWDS2MRIcOQFxjlMcNEmaoAiDIivSgjQ0p0Hmg8ijAYQNSVMM4VbcbXW7cm13jy5nLeczATuvoNO77bZ2cw3KhVIWfMlntssNB2Om+cj28fk7ekHPLpPL0duzVQNbqHs210htN23lTz6nfwFQSwMEFAACAAgAirpzR4LIvt4RCgAA+B4AABcAAAB1bml2ZXJzYWwvdW5pdmVyc2FsLnBuZ+2Z/1cTVxbA466rri62rlJKSonttrD9ItTlS5BvU79W241UKUUpIbSoqabyJWkaAkmm1SrLQYguW1GIyWlpQUtJuiKFaCBWCiNFJkspDEhMhECmEEkIaRJCmJmdwGnds7/sH7D5Yc7MvZ87b+57775735lX+vreVwJWU1dTKJSAPbt37KdQljMolN9yV60gNVUbYhDytoy3/5VtFCUcMkkKy9lbGVsplH9K1yy8/TtS/n3+7oM8CmVth+9aBuVdPkShhJbv2bH1jcKs6XvA7cMjbytGR66kstNjnz+T+jj99IZlQSde3v945vIfVgX+JewUk7l99dsvPXYre/npjS+t6Mne0PzqurGwU6+mrfho/+XAp099f/mNBPv1QwlvlQhwURQPSjfaDs7k6zTogyhjFqp/p3EYFdHaWstp+ExJZPvsJyrN3FiQdq5Umjy/inTv/vB118uw5PZwkFoKGqI9cyapI5vUfxjIBsepiveqRd4RI7zyN6Tqqy3eZ0jFwng40L2S4lPMH9KOi47UW5eTwgFnt6Q7qH3mlGY9KWUPECORkwnLyMeuw4u4ap1Pzdzla5sf7AODfuAHfuAHfuAHfuAHfuAHfuAHfuAHfuAHfuAHfvD/AIZcLMDdt8b3U1FyjuH7gfhhdr8PbByK9lmtimX42In/iWberAkDCY+uba4hEreWqUDPa5H4AynxU2e6dj5Nfv/O8MUbUSXsCE4F+e7c+3rkWvMR7+ECCW56gsCNyUePC0OLK9QVKhT3KVN4x7FxRqXW+4lOO9cPeOLAA3LrnYmL/dUc8mMGlRZrZonPE3Pg4HlUPyWzwTlyUzWuqcvj4ilO34sLmLGHdrZFYL5mppLeudGFk04efu071gJEnEXFgtBUKHkl2iw2Bj2bKOz/Li3MZvylcanDXg4QHcDtmGHeflSSDiWGozESBW1AOFu3B3tdc+MXs7ag5seKc6f0tqkLqFkzyLfmddR1s3f0xpDYZhUhOxs75LXxxI14s1rYbxMI18cykv90TEn2v5CO1lJ1nuK/hg6E6Ac26/o8F/ZeIlKHoz1nLqtXUCj37yWikcmbYlYK+Hd4fEkjt/fb1KFf4bTYIZAkICzdwd4O5pMOGebMw47AHTXzQWQDgy3tzrFio9cQjo/S8NFOeru9nNVK/GyTuG9o/6XMgXOkljmuFYBYLTYdT20FWlSoFxa0O36A9ESmFWorX+oe7BloKiOH2TymrBDCcPF9piTAvvJetMdM13rG6gFssozKTh0v0gcDuF0Kjg41bS7oEurtXxb8V9seHYiPcVjejGQzjlKRHMObiwOUhzIlbTMm4O80N3gIXChZ4G2+eTBdHmOzyNE4YiOYBKnFgDlOx7cWDxe50o5FWKcuIFuAni1Q8Q1Jl2XbKYR5KN9s00s0B0YTbZPsTRLA3Ddyp3OC2W4cP5lbnVmzFtWyt+n2KAh5gfHrOFOiWfLg4udRoeFTU6jWLcGYkTVDFpznTTRTgblvH5nd7ETdVxaDpT7BeHifRUl3Xi04HqJHzkpNrwDzfRwFmmGT82eC3aAGUJYFZLm6S9OveFobcrJQqtvpNFGxjEgkzq0I+CLKyiGaPuJ2xdBUVCkHry8asdE92TVh0soCN2YDiUqv8slvokJp7k9jGXChqM9ywd249GVPjXHOmclL6gx2x0wOv6hu4QQIWSXygAoF9oCt+JnTZDrjdSTGE++CXdjzFbwHwWzTOD5ET+Nx0yENHAN7mNMF5XiYZcJygWcg2d3oIn3IdbM7jeeOhYtrzeNpyUN13T2x9AqIrg+WVjrmTiS6ILQt62sIAgxgLgsknKfbDDJp5LwThexzTe1L4SA3ixe+kWWgzHRQNiLlDPXwt95sXptkSrN0WqbKvCu6m7em0kaE62PCyYi16CE+LOX8DDkdPZmOwiS8YK2UIzFCGV6rhn5sb1ZnXTdwr53AEMcl+hS22Z0DgzaYePzX0EhJtTTWx5tetOoy7K2x2+FP1qE4OQ6DJ5H4WftmxPFjq4qlakhV2rarYwNDgauOumN7F6PDJLN4hmHPpRe2K5sdzeZkNxKH4ZnIrr5g9wvpVqvjLbe2rLoy3TcVSO4wlrA9AnFXL7wGJqJFFZby/LaDDyfiinMwte29TNY7RY1PqQKkUTB1VqToxmrD0gFO9w1v2jPIkR6Pzdkny6Brr1RXkmucD8cBbr4BTWR9c5QL6Ez2p096IS6Mub0RiNFx1Wvc2dvdIPqaUWnpBEx4+S32LSX9bnPlB+Vek1IKZ0benugfilbjovJ4s7hhcZ0f9eXPPyOZKQVd2KuVEH/CRJ3NqErOfVRmv36K4E90Du9ujYgtXAiIStm3FADBiDCT44Bi3DXKKt3pnmAk+SbmzYxAFtpzrfKpxcGfOHm8OgRZezcYHZdySiZx83VDPvuPKuhSQWgx2O7NUdEtE/FmTZ8KjVNq0euEXiLqoCFPjJ5pYEJ6hY1rvC98YvHsLbEX9NCJeJ97jd6p9trBs0h4YChYDDfIUa72nQm9EtL8MjKtsEnyxe3glOFodfJhbuOnujids1WOXyPDfykof6rrLvjgnHW9aNf0i8yap5C4vJtQ3o9J8OeKUg3L8L6s91w/jUnOGoa6hB/B016ejH6Lf2cgyyUr8ZWfD3WnfQVHbS1KZcv4WfcEP9Z1Y/2ByK5bwWzM2yoRiayW1ZVRyhjLyJdLK/aMVyfCPtBHhdIZVrRwi2UiCmBHVHCOg5fcB20snVhErQlDk/Y57PE0Uf/Hb/ICKJSb/RiGAu6xFGLclFncVtp0ABww78Q6vAWxy/ZqY1Ph6So1TRC7TpkVtCZxZy9EpuZ4FC2SSR2TZ/pVa1ZlCc59e7GS57V/VmoRWml7yGXJpJ+NQNvyDevJTJHTPx712WLwtTjoWrtF7SqyLmY91KoCLXRehOFjRqXub0vZ2cAS2wU8zCkbSPTVj2EWjtsmEjXP1YQp1i3OjqZmqYQN8dJ4+WQJS0dbJjTTEDfiP2oQ6H5BAdaTqelw6pIN6OVoq3kzGx7aCNCETceedIUMeIy+MkUH0RbHguL7h2UO8uSWZZQl0flWX6lyKI05XDdZf7/oqU7+R1T9kisAi5it4jJcmTLbzGVHe4L0So6izEFFhNrG8Lzqrx7A4t02XtAfyJ679FrjOGPwvE7IALNGHpqIS+H66f7CfaRL76I9WxWmahcDOa/jM0B4UiyyW2pJoxB0pdBaFSNexV4LlAcFkq1VFedy7tYrNyE64jnDscWty31101Hfieqj71X79i7La8J8t9FawqVqPytYPFqN9z5LExOA+Fnb4saJ73oteR4gLCXCcFK8+WUTa7avDKQScwoAXjqL3eJ9hi26epTb9QgxxvG8/OsRLqEhdQROI7BOYkHAunPSZy1vaKJxXTtxotA+Rvwmy7WR+x3CU/vInp17dyi3ZZ/4N1BLAwQUAAIACACKunNH0iigUkoAAABrAAAAGwAAAHVuaXZlcnNhbC91bml2ZXJzYWwucG5nLnhtbLOxr8jNUShLLSrOzM+zVTLUM1Cyt+PlsikoSi3LTC1XqACKGekZQICSQiUqtzwzpSQDKGRgbo4QzEjNTM8osVWyMLCAC+oDzQQAUEsBAgAAFAACAAgAiZCER+lu22TkAwAAdA4AAB0AAAAAAAAAAQAAAAAAAAAAAHVuaXZlcnNhbC9jb21tb25fbWVzc2FnZXMubG5nUEsBAgAAFAACAAgAiZCER6uvADQSAwAAYQsAACcAAAAAAAAAAQAAAAAAHwQAAHVuaXZlcnNhbC9mbGFzaF9wdWJsaXNoaW5nX3NldHRpbmdzLnhtbFBLAQIAABQAAgAIAImQhEfkoSsAvgIAAFUKAAAhAAAAAAAAAAEAAAAAAHYHAAB1bml2ZXJzYWwvZmxhc2hfc2tpbl9zZXR0aW5ncy54bWxQSwECAAAUAAIACACJkIRH1eon0+cCAAByCgAAJgAAAAAAAAABAAAAAABzCgAAdW5pdmVyc2FsL2h0bWxfcHVibGlzaGluZ19zZXR0aW5ncy54bWxQSwECAAAUAAIACACJkIRHALvkKp4BAAAfBgAAHwAAAAAAAAABAAAAAACeDQAAdW5pdmVyc2FsL2h0bWxfc2tpbl9zZXR0aW5ncy5qc1BLAQIAABQAAgAIAImQhEca2uo7qgAAAB8BAAAaAAAAAAAAAAEAAAAAAHkPAAB1bml2ZXJzYWwvaTE4bl9wcmVzZXRzLnhtbFBLAQIAABQAAgAIAImQhEew7V1XbgAAAHYAAAAcAAAAAAAAAAEAAAAAAFsQAAB1bml2ZXJzYWwvbG9jYWxfc2V0dGluZ3MueG1sUEsBAgAAFAACAAgAA3TLRM6CCTfsAgAAiAgAABQAAAAAAAAAAQAAAAAAAxEAAHVuaXZlcnNhbC9wbGF5ZXIueG1sUEsBAgAAFAACAAgAiZCER1xY5FeMAgAAagcAACkAAAAAAAAAAQAAAAAAIRQAAHVuaXZlcnNhbC9za2luX2N1c3RvbWl6YXRpb25fc2V0dGluZ3MueG1sUEsBAgAAFAACAAgAirpzR4LIvt4RCgAA+B4AABcAAAAAAAAAAAAAAAAA9BYAAHVuaXZlcnNhbC91bml2ZXJzYWwucG5nUEsBAgAAFAACAAgAirpzR9IooFJKAAAAawAAABsAAAAAAAAAAQAAAAAAOiEAAHVuaXZlcnNhbC91bml2ZXJzYWwucG5nLnhtbFBLBQYAAAAACwALAEkDAAC9IQAAAAA="/>
  <p:tag name="ISPRING_ULTRA_SCORM_COURSE_ID" val="19D12169-10B6-4984-8CE8-8968B0B22BA0"/>
  <p:tag name="ISPRING_SCORM_RATE_SLIDES" val="1"/>
  <p:tag name="ISPRING_SCORM_RATE_QUIZZES" val="0"/>
  <p:tag name="ISPRING_SCORM_PASSING_SCORE" val="100.0000000000"/>
  <p:tag name="ISPRINGONLINEFOLDERID" val="0"/>
  <p:tag name="ISPRINGONLINEFOLDERPATH" val="Content List"/>
  <p:tag name="ISPRINGCLOUDFOLDERID" val="0"/>
  <p:tag name="ISPRINGCLOUDFOLDERPATH" val="Content List"/>
  <p:tag name="ISPRING_PRESENTATION_TITLE" val="1"/>
  <p:tag name="ISPRING_SCORM_ENDPOINT" val="&lt;endpoint&gt;&lt;enable&gt;0&lt;/enable&gt;&lt;lrs&gt;http://&lt;/lrs&gt;&lt;auth&gt;0&lt;/auth&gt;&lt;login&gt;&lt;/login&gt;&lt;password&gt;&lt;/password&gt;&lt;key&gt;&lt;/key&gt;&lt;name&gt;&lt;/name&gt;&lt;email&gt;&lt;/email&gt;&lt;/endpoint&gt;&#10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Nn7bpFUaJ7NSCFzVS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Nn7bpFUaJ7NSCFzVS3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TR.nywBUODTRis1QIA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H_nwH1rUys7yxKEXxJ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Nn7bpFUaJ7NSCFzVS3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Nn7bpFUaJ7NSCFzVS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Nn7bpFUaJ7NSCFzVS3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Nn7bpFUaJ7NSCFzVS3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Nn7bpFUaJ7NSCFzVS3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Nn7bpFUaJ7NSCFzVS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Nn7bpFUaJ7NSCFzVS3g"/>
</p:tagLst>
</file>

<file path=ppt/theme/theme1.xml><?xml version="1.0" encoding="utf-8"?>
<a:theme xmlns:a="http://schemas.openxmlformats.org/drawingml/2006/main" name="Office 主题​​">
  <a:themeElements>
    <a:clrScheme name="自定义 276">
      <a:dk1>
        <a:sysClr val="windowText" lastClr="000000"/>
      </a:dk1>
      <a:lt1>
        <a:sysClr val="window" lastClr="FFFFFF"/>
      </a:lt1>
      <a:dk2>
        <a:srgbClr val="7F7F7F"/>
      </a:dk2>
      <a:lt2>
        <a:srgbClr val="7F7F7F"/>
      </a:lt2>
      <a:accent1>
        <a:srgbClr val="C00002"/>
      </a:accent1>
      <a:accent2>
        <a:srgbClr val="C00002"/>
      </a:accent2>
      <a:accent3>
        <a:srgbClr val="C00002"/>
      </a:accent3>
      <a:accent4>
        <a:srgbClr val="C00002"/>
      </a:accent4>
      <a:accent5>
        <a:srgbClr val="808080"/>
      </a:accent5>
      <a:accent6>
        <a:srgbClr val="808080"/>
      </a:accent6>
      <a:hlink>
        <a:srgbClr val="FFFFFF"/>
      </a:hlink>
      <a:folHlink>
        <a:srgbClr val="FFFFFF"/>
      </a:folHlink>
    </a:clrScheme>
    <a:fontScheme name="自定义 1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600" b="1" dirty="0" smtClean="0">
            <a:solidFill>
              <a:schemeClr val="accent6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413</TotalTime>
  <Words>3459</Words>
  <Application>Microsoft Office PowerPoint</Application>
  <PresentationFormat>On-screen Show (16:9)</PresentationFormat>
  <Paragraphs>1006</Paragraphs>
  <Slides>17</Slides>
  <Notes>13</Notes>
  <HiddenSlides>3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0" baseType="lpstr">
      <vt:lpstr>Gill Sans</vt:lpstr>
      <vt:lpstr>Helvetica Neue</vt:lpstr>
      <vt:lpstr>Lantinghei SC Demibold</vt:lpstr>
      <vt:lpstr>Microsoft YaHei Light</vt:lpstr>
      <vt:lpstr>等线</vt:lpstr>
      <vt:lpstr>宋体</vt:lpstr>
      <vt:lpstr>微软雅黑</vt:lpstr>
      <vt:lpstr>微软雅黑</vt:lpstr>
      <vt:lpstr>Arial</vt:lpstr>
      <vt:lpstr>Calibri</vt:lpstr>
      <vt:lpstr>Impact</vt:lpstr>
      <vt:lpstr>Wingdings</vt:lpstr>
      <vt:lpstr>Office 主题​​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熊猫办公PPT</dc:title>
  <dc:creator>熊猫办公</dc:creator>
  <cp:lastModifiedBy>王华耀 / Wang Huayao</cp:lastModifiedBy>
  <cp:revision>5364</cp:revision>
  <dcterms:created xsi:type="dcterms:W3CDTF">2015-04-24T01:01:13Z</dcterms:created>
  <dcterms:modified xsi:type="dcterms:W3CDTF">2020-09-16T10:45:57Z</dcterms:modified>
</cp:coreProperties>
</file>